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6"/>
  </p:notesMasterIdLst>
  <p:sldIdLst>
    <p:sldId id="455" r:id="rId2"/>
    <p:sldId id="478" r:id="rId3"/>
    <p:sldId id="488" r:id="rId4"/>
    <p:sldId id="456" r:id="rId5"/>
    <p:sldId id="480" r:id="rId6"/>
    <p:sldId id="489" r:id="rId7"/>
    <p:sldId id="467" r:id="rId8"/>
    <p:sldId id="431" r:id="rId9"/>
    <p:sldId id="433" r:id="rId10"/>
    <p:sldId id="450" r:id="rId11"/>
    <p:sldId id="481" r:id="rId12"/>
    <p:sldId id="497" r:id="rId13"/>
    <p:sldId id="498" r:id="rId14"/>
    <p:sldId id="499" r:id="rId15"/>
    <p:sldId id="507" r:id="rId16"/>
    <p:sldId id="484" r:id="rId17"/>
    <p:sldId id="501" r:id="rId18"/>
    <p:sldId id="502" r:id="rId19"/>
    <p:sldId id="503" r:id="rId20"/>
    <p:sldId id="504" r:id="rId21"/>
    <p:sldId id="505" r:id="rId22"/>
    <p:sldId id="506" r:id="rId23"/>
    <p:sldId id="485" r:id="rId24"/>
    <p:sldId id="496" r:id="rId25"/>
    <p:sldId id="360" r:id="rId26"/>
    <p:sldId id="364" r:id="rId27"/>
    <p:sldId id="453" r:id="rId28"/>
    <p:sldId id="479" r:id="rId29"/>
    <p:sldId id="508" r:id="rId30"/>
    <p:sldId id="509" r:id="rId31"/>
    <p:sldId id="510" r:id="rId32"/>
    <p:sldId id="477" r:id="rId33"/>
    <p:sldId id="500" r:id="rId34"/>
    <p:sldId id="482" r:id="rId3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1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E9950D"/>
    <a:srgbClr val="D1E2F3"/>
    <a:srgbClr val="EFF5FB"/>
    <a:srgbClr val="D8EBF4"/>
    <a:srgbClr val="79BFD5"/>
    <a:srgbClr val="9ED442"/>
    <a:srgbClr val="40A7E1"/>
    <a:srgbClr val="F5B144"/>
    <a:srgbClr val="F6D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444" autoAdjust="0"/>
    <p:restoredTop sz="99568" autoAdjust="0"/>
  </p:normalViewPr>
  <p:slideViewPr>
    <p:cSldViewPr snapToGrid="0">
      <p:cViewPr>
        <p:scale>
          <a:sx n="100" d="100"/>
          <a:sy n="100" d="100"/>
        </p:scale>
        <p:origin x="-660" y="-366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7030A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288-4AAC-913E-A57FA0938A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288-4AAC-913E-A57FA0938A5E}"/>
              </c:ext>
            </c:extLst>
          </c:dPt>
          <c:dPt>
            <c:idx val="2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288-4AAC-913E-A57FA0938A5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288-4AAC-913E-A57FA0938A5E}"/>
              </c:ext>
            </c:extLst>
          </c:dPt>
          <c:dPt>
            <c:idx val="4"/>
            <c:bubble3D val="0"/>
            <c:spPr>
              <a:solidFill>
                <a:srgbClr val="40A7E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288-4AAC-913E-A57FA0938A5E}"/>
              </c:ext>
            </c:extLst>
          </c:dPt>
          <c:cat>
            <c:strRef>
              <c:f>Лист1!$A$2:$A$6</c:f>
              <c:strCache>
                <c:ptCount val="5"/>
                <c:pt idx="0">
                  <c:v>Читательская грамотность
2009, 2018, 2027</c:v>
                </c:pt>
                <c:pt idx="1">
                  <c:v>Математическая грамотность
2003, 2012, 2022</c:v>
                </c:pt>
                <c:pt idx="2">
                  <c:v>Финансовая грамотность</c:v>
                </c:pt>
                <c:pt idx="3">
                  <c:v>Естественно–научная грамотность
2006, 2015, 2025</c:v>
                </c:pt>
                <c:pt idx="4">
                  <c:v>Креативное мышлени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7288-4AAC-913E-A57FA0938A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497</cdr:x>
      <cdr:y>0.17227</cdr:y>
    </cdr:from>
    <cdr:to>
      <cdr:x>0.54965</cdr:x>
      <cdr:y>0.28544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482533" y="796537"/>
          <a:ext cx="2044180" cy="5232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lvl="0" algn="ctr"/>
          <a:r>
            <a:rPr lang="ru-RU" sz="14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Креативное </a:t>
          </a:r>
        </a:p>
        <a:p xmlns:a="http://schemas.openxmlformats.org/drawingml/2006/main">
          <a:pPr lvl="0" algn="ctr"/>
          <a:r>
            <a:rPr lang="ru-RU" sz="1400" b="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м</a:t>
          </a:r>
          <a:r>
            <a:rPr lang="ru-RU" sz="1400" b="0" dirty="0" smtClean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ышление</a:t>
          </a:r>
        </a:p>
      </cdr:txBody>
    </cdr:sp>
  </cdr:relSizeAnchor>
  <cdr:relSizeAnchor xmlns:cdr="http://schemas.openxmlformats.org/drawingml/2006/chartDrawing">
    <cdr:from>
      <cdr:x>0.05193</cdr:x>
      <cdr:y>0.53357</cdr:y>
    </cdr:from>
    <cdr:to>
      <cdr:x>0.40071</cdr:x>
      <cdr:y>0.7133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238723" y="2467047"/>
          <a:ext cx="1603300" cy="8309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Естественно–научная</a:t>
          </a:r>
        </a:p>
        <a:p xmlns:a="http://schemas.openxmlformats.org/drawingml/2006/main">
          <a:pPr algn="ctr"/>
          <a:r>
            <a: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грамотность</a:t>
          </a:r>
        </a:p>
        <a:p xmlns:a="http://schemas.openxmlformats.org/drawingml/2006/main">
          <a:pPr algn="ctr"/>
          <a:r>
            <a: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2006, 2015, </a:t>
          </a:r>
          <a:r>
            <a:rPr lang="ru-RU" sz="1200" b="1" dirty="0" smtClean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rPr>
            <a:t>2025</a:t>
          </a:r>
          <a:endParaRPr lang="ru-RU" sz="1200" b="1" dirty="0">
            <a:solidFill>
              <a:schemeClr val="bg1"/>
            </a:solidFill>
            <a:latin typeface="Open Sans Light" panose="020B0306030504020204" pitchFamily="34" charset="0"/>
            <a:ea typeface="Open Sans Light" panose="020B0306030504020204" pitchFamily="34" charset="0"/>
            <a:cs typeface="Open Sans Light" panose="020B0306030504020204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37248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6.02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9397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26.02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13" Type="http://schemas.openxmlformats.org/officeDocument/2006/relationships/image" Target="../media/image29.jpe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2.jpeg"/><Relationship Id="rId11" Type="http://schemas.openxmlformats.org/officeDocument/2006/relationships/image" Target="../media/image27.jpeg"/><Relationship Id="rId5" Type="http://schemas.openxmlformats.org/officeDocument/2006/relationships/image" Target="../media/image21.png"/><Relationship Id="rId10" Type="http://schemas.openxmlformats.org/officeDocument/2006/relationships/image" Target="../media/image26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0.png"/><Relationship Id="rId7" Type="http://schemas.openxmlformats.org/officeDocument/2006/relationships/image" Target="../media/image3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Relationship Id="rId9" Type="http://schemas.openxmlformats.org/officeDocument/2006/relationships/hyperlink" Target="https://shop.prosv.ru/kreativnoe-myshlenie-sbornik-etalonnyx-zadanij-vypusk-115102" TargetMode="Externa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finansovaya-gramotnost-sbornik-etalonnyx-zadanij-vypusk-115100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13" Type="http://schemas.openxmlformats.org/officeDocument/2006/relationships/image" Target="../media/image47.png"/><Relationship Id="rId3" Type="http://schemas.openxmlformats.org/officeDocument/2006/relationships/image" Target="../media/image36.jpeg"/><Relationship Id="rId7" Type="http://schemas.openxmlformats.org/officeDocument/2006/relationships/image" Target="../media/image42.jpeg"/><Relationship Id="rId12" Type="http://schemas.openxmlformats.org/officeDocument/2006/relationships/hyperlink" Target="https://prosv.ru/pages/pisa.html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1.jpeg"/><Relationship Id="rId11" Type="http://schemas.openxmlformats.org/officeDocument/2006/relationships/image" Target="../media/image46.gif"/><Relationship Id="rId5" Type="http://schemas.openxmlformats.org/officeDocument/2006/relationships/image" Target="../media/image4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3.emf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49.png"/><Relationship Id="rId4" Type="http://schemas.microsoft.com/office/2007/relationships/hdphoto" Target="../media/hdphoto1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emf"/><Relationship Id="rId4" Type="http://schemas.microsoft.com/office/2007/relationships/hdphoto" Target="../media/hdphoto2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3.emf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49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8.png"/><Relationship Id="rId7" Type="http://schemas.openxmlformats.org/officeDocument/2006/relationships/image" Target="../media/image3.emf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6.jpeg"/><Relationship Id="rId4" Type="http://schemas.microsoft.com/office/2007/relationships/hdphoto" Target="../media/hdphoto1.wdp"/><Relationship Id="rId9" Type="http://schemas.microsoft.com/office/2007/relationships/hdphoto" Target="../media/hdphoto2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image" Target="../media/image3.emf"/><Relationship Id="rId2" Type="http://schemas.openxmlformats.org/officeDocument/2006/relationships/hyperlink" Target="https://shop.prosv.ru/funkcionalnaya-gramotnost-trenazhyor-matematika-na-kazhdyj-den-6-8-klassy" TargetMode="Externa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49.png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microsoft.com/office/2007/relationships/hdphoto" Target="../media/hdphoto1.wdp"/><Relationship Id="rId7" Type="http://schemas.openxmlformats.org/officeDocument/2006/relationships/image" Target="../media/image51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microsoft.com/office/2007/relationships/hdphoto" Target="../media/hdphoto2.wdp"/><Relationship Id="rId10" Type="http://schemas.openxmlformats.org/officeDocument/2006/relationships/hyperlink" Target="https://shop.prosv.ru/funkcionalnaya-gramotnost-trenazhyor-matematika-na-kazhdyj-den-6-8-klassy" TargetMode="External"/><Relationship Id="rId4" Type="http://schemas.openxmlformats.org/officeDocument/2006/relationships/image" Target="../media/image49.png"/><Relationship Id="rId9" Type="http://schemas.openxmlformats.org/officeDocument/2006/relationships/image" Target="../media/image3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53.png"/><Relationship Id="rId7" Type="http://schemas.openxmlformats.org/officeDocument/2006/relationships/image" Target="../media/image57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6.png"/><Relationship Id="rId11" Type="http://schemas.openxmlformats.org/officeDocument/2006/relationships/image" Target="../media/image47.png"/><Relationship Id="rId5" Type="http://schemas.openxmlformats.org/officeDocument/2006/relationships/image" Target="../media/image55.png"/><Relationship Id="rId10" Type="http://schemas.openxmlformats.org/officeDocument/2006/relationships/hyperlink" Target="https://prosv.ru/pages/pisa.html" TargetMode="External"/><Relationship Id="rId4" Type="http://schemas.openxmlformats.org/officeDocument/2006/relationships/image" Target="../media/image54.png"/><Relationship Id="rId9" Type="http://schemas.openxmlformats.org/officeDocument/2006/relationships/image" Target="../media/image59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shop.prosv.ru/russkij-yazyk-sbornik-zadach-po-formirovaniyu-chitatelskoj-gramotnosti9418" TargetMode="External"/><Relationship Id="rId5" Type="http://schemas.openxmlformats.org/officeDocument/2006/relationships/image" Target="../media/image62.jpeg"/><Relationship Id="rId4" Type="http://schemas.openxmlformats.org/officeDocument/2006/relationships/image" Target="../media/image6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prosv.ru/pages/zadachnik.html" TargetMode="External"/><Relationship Id="rId13" Type="http://schemas.openxmlformats.org/officeDocument/2006/relationships/image" Target="../media/image70.jpeg"/><Relationship Id="rId3" Type="http://schemas.openxmlformats.org/officeDocument/2006/relationships/image" Target="../media/image63.png"/><Relationship Id="rId7" Type="http://schemas.openxmlformats.org/officeDocument/2006/relationships/image" Target="../media/image66.jpeg"/><Relationship Id="rId12" Type="http://schemas.openxmlformats.org/officeDocument/2006/relationships/image" Target="../media/image4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jpeg"/><Relationship Id="rId11" Type="http://schemas.openxmlformats.org/officeDocument/2006/relationships/image" Target="../media/image69.png"/><Relationship Id="rId5" Type="http://schemas.openxmlformats.org/officeDocument/2006/relationships/image" Target="../media/image64.jpeg"/><Relationship Id="rId10" Type="http://schemas.openxmlformats.org/officeDocument/2006/relationships/image" Target="../media/image68.jpeg"/><Relationship Id="rId4" Type="http://schemas.openxmlformats.org/officeDocument/2006/relationships/image" Target="../media/image62.jpeg"/><Relationship Id="rId9" Type="http://schemas.openxmlformats.org/officeDocument/2006/relationships/image" Target="../media/image67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3.png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2.jpeg"/><Relationship Id="rId11" Type="http://schemas.openxmlformats.org/officeDocument/2006/relationships/oleObject" Target="../embeddings/oleObject6.bin"/><Relationship Id="rId5" Type="http://schemas.openxmlformats.org/officeDocument/2006/relationships/image" Target="../media/image71.jpeg"/><Relationship Id="rId10" Type="http://schemas.openxmlformats.org/officeDocument/2006/relationships/image" Target="../media/image76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7.png"/><Relationship Id="rId7" Type="http://schemas.openxmlformats.org/officeDocument/2006/relationships/image" Target="../media/image8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0.png"/><Relationship Id="rId11" Type="http://schemas.openxmlformats.org/officeDocument/2006/relationships/image" Target="../media/image47.png"/><Relationship Id="rId5" Type="http://schemas.openxmlformats.org/officeDocument/2006/relationships/image" Target="../media/image79.png"/><Relationship Id="rId10" Type="http://schemas.openxmlformats.org/officeDocument/2006/relationships/hyperlink" Target="https://prosv.ru/pages/zadachnik.html" TargetMode="External"/><Relationship Id="rId4" Type="http://schemas.openxmlformats.org/officeDocument/2006/relationships/image" Target="../media/image78.png"/><Relationship Id="rId9" Type="http://schemas.openxmlformats.org/officeDocument/2006/relationships/image" Target="../media/image83.gi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image" Target="../media/image84.png"/><Relationship Id="rId7" Type="http://schemas.openxmlformats.org/officeDocument/2006/relationships/image" Target="../media/image86.png"/><Relationship Id="rId12" Type="http://schemas.openxmlformats.org/officeDocument/2006/relationships/image" Target="../media/image4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4.png"/><Relationship Id="rId11" Type="http://schemas.openxmlformats.org/officeDocument/2006/relationships/hyperlink" Target="https://dev.media.prosv.ru/content/?situations=true" TargetMode="External"/><Relationship Id="rId5" Type="http://schemas.openxmlformats.org/officeDocument/2006/relationships/image" Target="../media/image11.svg"/><Relationship Id="rId10" Type="http://schemas.openxmlformats.org/officeDocument/2006/relationships/hyperlink" Target="https://ashe.graphics/preview/prosv/media/fg.html" TargetMode="External"/><Relationship Id="rId4" Type="http://schemas.openxmlformats.org/officeDocument/2006/relationships/image" Target="../media/image85.png"/><Relationship Id="rId9" Type="http://schemas.openxmlformats.org/officeDocument/2006/relationships/image" Target="../media/image8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0.png"/><Relationship Id="rId4" Type="http://schemas.openxmlformats.org/officeDocument/2006/relationships/hyperlink" Target="https://dev.media.prosv.ru/content/?situations=true&amp;klass=7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3.wdp"/><Relationship Id="rId5" Type="http://schemas.openxmlformats.org/officeDocument/2006/relationships/image" Target="../media/image91.png"/><Relationship Id="rId4" Type="http://schemas.openxmlformats.org/officeDocument/2006/relationships/hyperlink" Target="https://dev.media.prosv.ru/content/?situations=true&amp;klass=7" TargetMode="Externa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0.png"/><Relationship Id="rId5" Type="http://schemas.openxmlformats.org/officeDocument/2006/relationships/image" Target="../media/image92.png"/><Relationship Id="rId4" Type="http://schemas.openxmlformats.org/officeDocument/2006/relationships/hyperlink" Target="https://dev.media.prosv.ru/content/?situations=true&amp;klass=7" TargetMode="Externa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13" Type="http://schemas.openxmlformats.org/officeDocument/2006/relationships/image" Target="../media/image9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3.png"/><Relationship Id="rId12" Type="http://schemas.openxmlformats.org/officeDocument/2006/relationships/image" Target="../media/image9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hdphoto" Target="../media/hdphoto4.wdp"/><Relationship Id="rId5" Type="http://schemas.openxmlformats.org/officeDocument/2006/relationships/oleObject" Target="../embeddings/oleObject7.bin"/><Relationship Id="rId15" Type="http://schemas.microsoft.com/office/2007/relationships/hdphoto" Target="../media/hdphoto5.wdp"/><Relationship Id="rId10" Type="http://schemas.openxmlformats.org/officeDocument/2006/relationships/image" Target="../media/image9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95.png"/><Relationship Id="rId14" Type="http://schemas.openxmlformats.org/officeDocument/2006/relationships/image" Target="../media/image9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11" Type="http://schemas.openxmlformats.org/officeDocument/2006/relationships/hyperlink" Target="mailto:GKryukova@prosv.ru" TargetMode="External"/><Relationship Id="rId5" Type="http://schemas.openxmlformats.org/officeDocument/2006/relationships/notesSlide" Target="../notesSlides/notesSlide8.xml"/><Relationship Id="rId10" Type="http://schemas.openxmlformats.org/officeDocument/2006/relationships/hyperlink" Target="mailto:EZubkova@prosv.ru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0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19283" y="4163118"/>
            <a:ext cx="11602751" cy="1034129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70000"/>
              </a:lnSpc>
              <a:spcBef>
                <a:spcPts val="0"/>
              </a:spcBef>
            </a:pPr>
            <a:r>
              <a:rPr lang="ru-RU" sz="3600" b="1" dirty="0" smtClean="0">
                <a:solidFill>
                  <a:srgbClr val="2D2B8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.</a:t>
            </a:r>
            <a:r>
              <a:rPr lang="en-US" sz="3600" b="1" dirty="0" smtClean="0">
                <a:solidFill>
                  <a:srgbClr val="2D2B8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600" b="1" dirty="0" smtClean="0">
                <a:solidFill>
                  <a:srgbClr val="2D2B8D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Учимся для жизни</a:t>
            </a:r>
            <a:endParaRPr lang="en-US" sz="3600" b="1" dirty="0" smtClean="0">
              <a:solidFill>
                <a:srgbClr val="2D2B8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70000"/>
              </a:lnSpc>
              <a:spcBef>
                <a:spcPts val="0"/>
              </a:spcBef>
            </a:pPr>
            <a:endParaRPr lang="en-US" sz="3600" b="1" dirty="0">
              <a:solidFill>
                <a:srgbClr val="2D2B8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70000"/>
              </a:lnSpc>
              <a:spcBef>
                <a:spcPts val="0"/>
              </a:spcBef>
            </a:pPr>
            <a:endParaRPr lang="ru-RU" b="1" dirty="0">
              <a:solidFill>
                <a:srgbClr val="2D2B8D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Прямоугольник 120"/>
          <p:cNvSpPr/>
          <p:nvPr/>
        </p:nvSpPr>
        <p:spPr>
          <a:xfrm>
            <a:off x="5241280" y="1151914"/>
            <a:ext cx="1757849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D4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87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04" name="Прямая соединительная линия 10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38" name="Прямоугольник 137"/>
          <p:cNvSpPr/>
          <p:nvPr/>
        </p:nvSpPr>
        <p:spPr>
          <a:xfrm>
            <a:off x="6983413" y="1162498"/>
            <a:ext cx="1872027" cy="412633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6" name="Прямоугольник 135"/>
          <p:cNvSpPr/>
          <p:nvPr/>
        </p:nvSpPr>
        <p:spPr>
          <a:xfrm>
            <a:off x="3514936" y="1151914"/>
            <a:ext cx="1722259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3D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5" name="Прямоугольник 134"/>
          <p:cNvSpPr/>
          <p:nvPr/>
        </p:nvSpPr>
        <p:spPr>
          <a:xfrm>
            <a:off x="1909161" y="1162498"/>
            <a:ext cx="1595696" cy="412292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9ED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4" name="Прямоугольник 133"/>
          <p:cNvSpPr/>
          <p:nvPr/>
        </p:nvSpPr>
        <p:spPr>
          <a:xfrm>
            <a:off x="281216" y="1162497"/>
            <a:ext cx="1621891" cy="412292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F5B1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872" name="AutoShape 3"/>
          <p:cNvSpPr>
            <a:spLocks noChangeAspect="1" noChangeArrowheads="1" noTextEdit="1"/>
          </p:cNvSpPr>
          <p:nvPr/>
        </p:nvSpPr>
        <p:spPr bwMode="auto">
          <a:xfrm>
            <a:off x="-20638" y="5368925"/>
            <a:ext cx="12192001" cy="9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9" name="Rectangle 11"/>
          <p:cNvSpPr>
            <a:spLocks noChangeArrowheads="1"/>
          </p:cNvSpPr>
          <p:nvPr/>
        </p:nvSpPr>
        <p:spPr bwMode="auto">
          <a:xfrm>
            <a:off x="104" y="5439392"/>
            <a:ext cx="1976831" cy="98426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3" name="Rectangle 5"/>
          <p:cNvSpPr>
            <a:spLocks noChangeArrowheads="1"/>
          </p:cNvSpPr>
          <p:nvPr/>
        </p:nvSpPr>
        <p:spPr bwMode="auto">
          <a:xfrm>
            <a:off x="3595035" y="5447428"/>
            <a:ext cx="1754188" cy="98426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4" name="Rectangle 6"/>
          <p:cNvSpPr>
            <a:spLocks noChangeArrowheads="1"/>
          </p:cNvSpPr>
          <p:nvPr/>
        </p:nvSpPr>
        <p:spPr bwMode="auto">
          <a:xfrm>
            <a:off x="6985964" y="5447428"/>
            <a:ext cx="1899682" cy="8524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5" name="Rectangle 7"/>
          <p:cNvSpPr>
            <a:spLocks noChangeArrowheads="1"/>
          </p:cNvSpPr>
          <p:nvPr/>
        </p:nvSpPr>
        <p:spPr bwMode="auto">
          <a:xfrm>
            <a:off x="1981874" y="5447428"/>
            <a:ext cx="1658348" cy="98426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7" name="Rectangle 9"/>
          <p:cNvSpPr>
            <a:spLocks noChangeArrowheads="1"/>
          </p:cNvSpPr>
          <p:nvPr/>
        </p:nvSpPr>
        <p:spPr bwMode="auto">
          <a:xfrm>
            <a:off x="5298888" y="5447428"/>
            <a:ext cx="1754188" cy="98426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80" name="Нашивка 36879"/>
          <p:cNvSpPr/>
          <p:nvPr/>
        </p:nvSpPr>
        <p:spPr>
          <a:xfrm>
            <a:off x="1729584" y="5964757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0" name="Нашивка 159"/>
          <p:cNvSpPr/>
          <p:nvPr/>
        </p:nvSpPr>
        <p:spPr>
          <a:xfrm>
            <a:off x="3449845" y="5972198"/>
            <a:ext cx="194853" cy="327170"/>
          </a:xfrm>
          <a:prstGeom prst="chevron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1" name="Нашивка 160"/>
          <p:cNvSpPr/>
          <p:nvPr/>
        </p:nvSpPr>
        <p:spPr>
          <a:xfrm>
            <a:off x="5211461" y="5964757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2" name="Нашивка 161"/>
          <p:cNvSpPr/>
          <p:nvPr/>
        </p:nvSpPr>
        <p:spPr>
          <a:xfrm>
            <a:off x="6935276" y="5964757"/>
            <a:ext cx="194853" cy="327170"/>
          </a:xfrm>
          <a:prstGeom prst="chevron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3" name="Нашивка 162"/>
          <p:cNvSpPr/>
          <p:nvPr/>
        </p:nvSpPr>
        <p:spPr>
          <a:xfrm>
            <a:off x="8521036" y="5972198"/>
            <a:ext cx="292107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884" name="Овал 36883"/>
          <p:cNvSpPr/>
          <p:nvPr/>
        </p:nvSpPr>
        <p:spPr>
          <a:xfrm>
            <a:off x="716135" y="5159650"/>
            <a:ext cx="620785" cy="620785"/>
          </a:xfrm>
          <a:prstGeom prst="ellipse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883" name="Freeform 16"/>
          <p:cNvSpPr>
            <a:spLocks noEditPoints="1"/>
          </p:cNvSpPr>
          <p:nvPr/>
        </p:nvSpPr>
        <p:spPr bwMode="auto">
          <a:xfrm>
            <a:off x="853916" y="5312763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2" name="Овал 171"/>
          <p:cNvSpPr/>
          <p:nvPr/>
        </p:nvSpPr>
        <p:spPr>
          <a:xfrm>
            <a:off x="2401909" y="5166892"/>
            <a:ext cx="620785" cy="620785"/>
          </a:xfrm>
          <a:prstGeom prst="ellipse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3" name="Freeform 16"/>
          <p:cNvSpPr>
            <a:spLocks noEditPoints="1"/>
          </p:cNvSpPr>
          <p:nvPr/>
        </p:nvSpPr>
        <p:spPr bwMode="auto">
          <a:xfrm>
            <a:off x="2540965" y="5294881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4" name="Овал 173"/>
          <p:cNvSpPr/>
          <p:nvPr/>
        </p:nvSpPr>
        <p:spPr>
          <a:xfrm>
            <a:off x="4079273" y="5166892"/>
            <a:ext cx="620785" cy="620785"/>
          </a:xfrm>
          <a:prstGeom prst="ellipse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5" name="Freeform 16"/>
          <p:cNvSpPr>
            <a:spLocks noEditPoints="1"/>
          </p:cNvSpPr>
          <p:nvPr/>
        </p:nvSpPr>
        <p:spPr bwMode="auto">
          <a:xfrm>
            <a:off x="4226989" y="5268167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6" name="Овал 175"/>
          <p:cNvSpPr/>
          <p:nvPr/>
        </p:nvSpPr>
        <p:spPr>
          <a:xfrm>
            <a:off x="5756637" y="5166892"/>
            <a:ext cx="620785" cy="620785"/>
          </a:xfrm>
          <a:prstGeom prst="ellipse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7" name="Freeform 16"/>
          <p:cNvSpPr>
            <a:spLocks noEditPoints="1"/>
          </p:cNvSpPr>
          <p:nvPr/>
        </p:nvSpPr>
        <p:spPr bwMode="auto">
          <a:xfrm>
            <a:off x="5870675" y="5311023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8" name="Овал 177"/>
          <p:cNvSpPr/>
          <p:nvPr/>
        </p:nvSpPr>
        <p:spPr>
          <a:xfrm>
            <a:off x="7442239" y="5166892"/>
            <a:ext cx="620785" cy="620785"/>
          </a:xfrm>
          <a:prstGeom prst="ellipse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9" name="Freeform 16"/>
          <p:cNvSpPr>
            <a:spLocks noEditPoints="1"/>
          </p:cNvSpPr>
          <p:nvPr/>
        </p:nvSpPr>
        <p:spPr bwMode="auto">
          <a:xfrm>
            <a:off x="7597479" y="5302640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90" name="TextBox 189"/>
          <p:cNvSpPr txBox="1"/>
          <p:nvPr/>
        </p:nvSpPr>
        <p:spPr>
          <a:xfrm>
            <a:off x="279040" y="5871174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b="0" dirty="0" smtClean="0">
                <a:ea typeface="Open Sans" pitchFamily="34" charset="0"/>
                <a:cs typeface="Open Sans" pitchFamily="34" charset="0"/>
              </a:rPr>
              <a:t>2020–2021 </a:t>
            </a:r>
            <a:endParaRPr lang="en-US" sz="1400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учебный год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 smtClean="0">
                <a:ea typeface="Open Sans" pitchFamily="34" charset="0"/>
                <a:cs typeface="Open Sans" pitchFamily="34" charset="0"/>
              </a:rPr>
              <a:t>(4–5 </a:t>
            </a:r>
            <a:r>
              <a:rPr lang="ru-RU" b="0" dirty="0"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176013" y="3362239"/>
            <a:ext cx="180924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</a:t>
            </a:r>
            <a:r>
              <a:rPr lang="ru-RU" sz="1000" dirty="0" smtClean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1773736" y="173798"/>
            <a:ext cx="10029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Подготовка к международному исследованию PISA в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2025 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году 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1896290" y="5860557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b="0" dirty="0" smtClean="0">
                <a:ea typeface="Open Sans" pitchFamily="34" charset="0"/>
                <a:cs typeface="Open Sans" pitchFamily="34" charset="0"/>
              </a:rPr>
              <a:t>2021–2022 </a:t>
            </a:r>
            <a:endParaRPr lang="en-US" sz="1400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учебный год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 smtClean="0">
                <a:ea typeface="Open Sans" pitchFamily="34" charset="0"/>
                <a:cs typeface="Open Sans" pitchFamily="34" charset="0"/>
              </a:rPr>
              <a:t>(5–6 </a:t>
            </a:r>
            <a:r>
              <a:rPr lang="ru-RU" b="0" dirty="0"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696202" y="5883719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b="0" dirty="0" smtClean="0">
                <a:ea typeface="Open Sans" pitchFamily="34" charset="0"/>
                <a:cs typeface="Open Sans" pitchFamily="34" charset="0"/>
              </a:rPr>
              <a:t>2022–2023 </a:t>
            </a:r>
            <a:endParaRPr lang="en-US" sz="1400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учебный год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 smtClean="0">
                <a:ea typeface="Open Sans" pitchFamily="34" charset="0"/>
                <a:cs typeface="Open Sans" pitchFamily="34" charset="0"/>
              </a:rPr>
              <a:t>(6–7 </a:t>
            </a:r>
            <a:r>
              <a:rPr lang="ru-RU" b="0" dirty="0"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5447275" y="5866180"/>
            <a:ext cx="1551854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b="0" dirty="0">
                <a:ea typeface="Open Sans" pitchFamily="34" charset="0"/>
                <a:cs typeface="Open Sans" pitchFamily="34" charset="0"/>
              </a:rPr>
              <a:t>2023–2024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учебный год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(7–8 классы)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7092672" y="5873108"/>
            <a:ext cx="1551854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b="0" dirty="0">
                <a:ea typeface="Open Sans" pitchFamily="34" charset="0"/>
                <a:cs typeface="Open Sans" pitchFamily="34" charset="0"/>
              </a:rPr>
              <a:t>2024–2025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учебный год </a:t>
            </a:r>
            <a:endParaRPr lang="en-US" b="0" dirty="0"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b="0" dirty="0">
                <a:ea typeface="Open Sans" pitchFamily="34" charset="0"/>
                <a:cs typeface="Open Sans" pitchFamily="34" charset="0"/>
              </a:rPr>
              <a:t>(8–9 классы)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1872091" y="4406622"/>
            <a:ext cx="16327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  <a:endParaRPr lang="en-US" sz="1000" dirty="0">
              <a:solidFill>
                <a:srgbClr val="C00000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450293" y="3399709"/>
            <a:ext cx="182956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</a:t>
            </a:r>
            <a:r>
              <a:rPr lang="ru-RU" sz="1000" dirty="0" smtClean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0">
              <a:spcBef>
                <a:spcPct val="0"/>
              </a:spcBef>
              <a:defRPr/>
            </a:pPr>
            <a:endParaRPr lang="ru-RU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7019018" y="3521881"/>
            <a:ext cx="19119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335096" y="310251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356254" y="4029422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200" b="1" dirty="0"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2001307" y="3088827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2016902" y="4052570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3680218" y="3091788"/>
            <a:ext cx="1320675" cy="316232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200" b="1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3687775" y="4061807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5406691" y="3096585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200" b="1" dirty="0"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5466816" y="409252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7359235" y="310559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algn="r">
              <a:defRPr sz="1200" b="1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tx1"/>
                </a:solidFill>
                <a:latin typeface="+mn-lt"/>
              </a:rPr>
              <a:t>I</a:t>
            </a:r>
            <a:r>
              <a:rPr lang="ru-RU" dirty="0">
                <a:solidFill>
                  <a:schemeClr val="tx1"/>
                </a:solidFill>
                <a:latin typeface="+mn-lt"/>
              </a:rPr>
              <a:t> ПОЛУГОДИЕ</a:t>
            </a:r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7211370" y="4079951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r"/>
            <a:r>
              <a:rPr lang="en-US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 smtClean="0"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200" b="1" dirty="0" smtClean="0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228797" y="841392"/>
            <a:ext cx="12032432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РЕАЛИЗАЦИИ</a:t>
            </a:r>
            <a:r>
              <a:rPr lang="ru-RU" b="1" dirty="0" smtClean="0">
                <a:solidFill>
                  <a:srgbClr val="0073B8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.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" pitchFamily="34" charset="0"/>
                <a:cs typeface="Open Sans" pitchFamily="34" charset="0"/>
              </a:rPr>
              <a:t>Внеурочная деятельность / </a:t>
            </a:r>
            <a:r>
              <a:rPr lang="ru-RU" sz="1600" b="1" dirty="0">
                <a:solidFill>
                  <a:srgbClr val="0073B8"/>
                </a:solidFill>
                <a:latin typeface="+mj-lt"/>
                <a:ea typeface="Open Sans" pitchFamily="34" charset="0"/>
                <a:cs typeface="Open Sans" pitchFamily="34" charset="0"/>
              </a:rPr>
              <a:t>часть учебного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" pitchFamily="34" charset="0"/>
                <a:cs typeface="Open Sans" pitchFamily="34" charset="0"/>
              </a:rPr>
              <a:t>плана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8958383" y="1079233"/>
            <a:ext cx="2800192" cy="5294020"/>
          </a:xfrm>
          <a:prstGeom prst="rect">
            <a:avLst/>
          </a:prstGeom>
          <a:solidFill>
            <a:srgbClr val="0073B8">
              <a:alpha val="50000"/>
            </a:srgb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58" name="TextBox 157"/>
          <p:cNvSpPr txBox="1"/>
          <p:nvPr/>
        </p:nvSpPr>
        <p:spPr>
          <a:xfrm>
            <a:off x="9094945" y="2882874"/>
            <a:ext cx="257753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готовка к международному исследованию PISA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в 202</a:t>
            </a:r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5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 году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>
              <a:defRPr/>
            </a:pPr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(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основное направление – </a:t>
            </a:r>
            <a:r>
              <a:rPr lang="ru-RU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ЕСТЕСТВЕННО-НАУЧНАЯ ГРАМОТНОСТЬ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)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4876" y="4362260"/>
            <a:ext cx="170595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000" b="1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</a:t>
            </a:r>
          </a:p>
          <a:p>
            <a:pPr algn="ctr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</a:t>
            </a:r>
            <a:r>
              <a:rPr lang="ru-RU" sz="10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Естествознание</a:t>
            </a:r>
            <a:r>
              <a:rPr lang="ru-RU" sz="10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1886806" y="3367699"/>
            <a:ext cx="164040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</a:t>
            </a:r>
            <a:r>
              <a:rPr lang="ru-RU" sz="1000" dirty="0" smtClean="0">
                <a:solidFill>
                  <a:srgbClr val="C00000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</a:t>
            </a:r>
            <a:r>
              <a:rPr lang="ru-RU" sz="1000" b="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0">
              <a:spcBef>
                <a:spcPct val="0"/>
              </a:spcBef>
              <a:defRPr/>
            </a:pPr>
            <a:endParaRPr lang="ru-RU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9" name="Picture 2" descr="C:\Users\EZubkova\Downloads\(cover) Естествознание. 5 класс. Учебное пособие  для общеобразовательных организаций.  В 2-х частях.  Часть  1 (Лапина И.К., Сафаров А. И., Колечкин И. С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148" y="1249550"/>
            <a:ext cx="844818" cy="112956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18" name="Picture 2" descr="Изображение Смысловое чтение. Читаю. Понимаю. Узнаю. 4 клас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79" y="1965251"/>
            <a:ext cx="778511" cy="1036758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3314" y="1244273"/>
            <a:ext cx="984808" cy="130865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0420" name="Picture 4" descr="https://catalog.prosv.ru/images/big/4ce6c158-2010-11ea-a56c-0050569c7d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0660" y="1875691"/>
            <a:ext cx="828471" cy="112087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Box 114"/>
          <p:cNvSpPr txBox="1"/>
          <p:nvPr/>
        </p:nvSpPr>
        <p:spPr>
          <a:xfrm>
            <a:off x="6849024" y="4482987"/>
            <a:ext cx="2070879" cy="5479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</a:t>
            </a:r>
            <a:endParaRPr lang="en-US" sz="1000" dirty="0" smtClean="0">
              <a:solidFill>
                <a:srgbClr val="C00000"/>
              </a:solidFill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sz="1000" dirty="0" smtClean="0">
                <a:solidFill>
                  <a:srgbClr val="C0000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АЯ </a:t>
            </a:r>
            <a:r>
              <a:rPr lang="ru-RU" sz="1000" dirty="0">
                <a:solidFill>
                  <a:srgbClr val="C0000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5686" y="1228844"/>
            <a:ext cx="1060090" cy="141913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120" name="TextBox 119"/>
          <p:cNvSpPr txBox="1"/>
          <p:nvPr/>
        </p:nvSpPr>
        <p:spPr>
          <a:xfrm>
            <a:off x="3530353" y="4544661"/>
            <a:ext cx="1775031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1000" dirty="0">
                <a:solidFill>
                  <a:srgbClr val="C00000"/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ЕСТЕСТВЕННО-НАУЧНАЯ ГРАМОТНОСТЬ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5182886" y="3546372"/>
            <a:ext cx="1824238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C00000"/>
                </a:solidFill>
                <a:latin typeface="+mn-lt"/>
              </a:rPr>
              <a:t>ЧИТАТЕЛЬСКАЯ ГРАМОТНОСТЬ </a:t>
            </a:r>
          </a:p>
          <a:p>
            <a:pPr>
              <a:defRPr/>
            </a:pPr>
            <a:r>
              <a:rPr lang="ru-RU" b="0" dirty="0">
                <a:solidFill>
                  <a:srgbClr val="C00000"/>
                </a:solidFill>
                <a:latin typeface="+mn-lt"/>
              </a:rPr>
              <a:t>+ </a:t>
            </a:r>
            <a:r>
              <a:rPr lang="ru-RU" dirty="0">
                <a:solidFill>
                  <a:srgbClr val="C00000"/>
                </a:solidFill>
                <a:latin typeface="+mn-lt"/>
              </a:rPr>
              <a:t>ЕСТЕСТВЕННО-НАУЧНАЯ ГРАМОТНОСТЬ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5298888" y="4552778"/>
            <a:ext cx="1599930" cy="4254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C00000"/>
                </a:solidFill>
                <a:latin typeface="+mn-lt"/>
              </a:rPr>
              <a:t>МАТЕМАТИЧЕСКАЯ ГРАМОТНОСТЬ </a:t>
            </a:r>
          </a:p>
          <a:p>
            <a:pPr>
              <a:defRPr/>
            </a:pPr>
            <a:r>
              <a:rPr lang="ru-RU" dirty="0">
                <a:solidFill>
                  <a:srgbClr val="C00000"/>
                </a:solidFill>
                <a:latin typeface="+mn-lt"/>
              </a:rPr>
              <a:t>+ ГЛОБАЛЬНЫЕ КОМПЕТЕНЦИИ</a:t>
            </a:r>
          </a:p>
        </p:txBody>
      </p:sp>
      <p:pic>
        <p:nvPicPr>
          <p:cNvPr id="127" name="Picture 68" descr="https://catalog.prosv.ru/images/big/9165c818-8902-11e8-b216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0167" y="1225626"/>
            <a:ext cx="903846" cy="121050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2" name="Picture 6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9521" y="1845970"/>
            <a:ext cx="836592" cy="11576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4" name="Picture 8" descr="https://catalog.prosv.ru/images/big/4e5099bc-91b3-11e9-8327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526" y="1241992"/>
            <a:ext cx="968181" cy="13041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Рисунок 127" descr="C:\Users\ABaburin\AppData\Local\Microsoft\Windows\Temporary Internet Files\Content.Word\Финансовая 2-1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4477" y="1872708"/>
            <a:ext cx="828000" cy="113535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143177" y="1519977"/>
            <a:ext cx="1762125" cy="800100"/>
          </a:xfrm>
          <a:prstGeom prst="rect">
            <a:avLst/>
          </a:prstGeom>
        </p:spPr>
      </p:pic>
      <p:pic>
        <p:nvPicPr>
          <p:cNvPr id="88" name="Рисунок 87" descr="C:\Users\ABaburin\AppData\Local\Microsoft\Windows\Temporary Internet Files\Content.Word\Читательская 2-1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8247" y="1886339"/>
            <a:ext cx="844309" cy="1117327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6451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315702" y="2217920"/>
            <a:ext cx="4664968" cy="3590727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Серия «Функциональная грамотность. Учимся для жизни (5-9)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Серия «Функциональная грамотность. Тренажеры (5-9)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Серия «Задачник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Серия пособий по финансовой грамотности (2-11)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Серия «ФГОС. Оценка образовательных достижений»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1873319" y="352674"/>
            <a:ext cx="1002938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Широкий выбор учебных пособий по функциональной грамотности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2" name="TextBox 41"/>
          <p:cNvSpPr txBox="1"/>
          <p:nvPr/>
        </p:nvSpPr>
        <p:spPr>
          <a:xfrm>
            <a:off x="7964445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127220"/>
            <a:ext cx="728841" cy="728841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007682"/>
            <a:ext cx="726248" cy="698047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3850392"/>
            <a:ext cx="626204" cy="623577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 rotWithShape="1">
          <a:blip r:embed="rId6"/>
          <a:srcRect l="14692" t="20657" r="22083" b="16289"/>
          <a:stretch/>
        </p:blipFill>
        <p:spPr>
          <a:xfrm>
            <a:off x="139309" y="5323638"/>
            <a:ext cx="1057109" cy="47869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80" y="4561213"/>
            <a:ext cx="642386" cy="638104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818811" y="2212375"/>
            <a:ext cx="4493972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PISA 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49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xmlns="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8541" y="3403718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8552209" y="5904482"/>
            <a:ext cx="1318438" cy="393756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ОВИН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8544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629347" y="413405"/>
            <a:ext cx="61498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пыт креативного мышл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111619" name="Picture 3"/>
          <p:cNvPicPr>
            <a:picLocks noChangeAspect="1" noChangeArrowheads="1"/>
          </p:cNvPicPr>
          <p:nvPr/>
        </p:nvPicPr>
        <p:blipFill rotWithShape="1">
          <a:blip r:embed="rId7" cstate="print"/>
          <a:srcRect l="2476" t="22527" r="54952" b="4726"/>
          <a:stretch/>
        </p:blipFill>
        <p:spPr bwMode="auto">
          <a:xfrm>
            <a:off x="2598327" y="1069205"/>
            <a:ext cx="6365826" cy="5104263"/>
          </a:xfrm>
          <a:prstGeom prst="rect">
            <a:avLst/>
          </a:prstGeom>
          <a:noFill/>
          <a:ln w="9525">
            <a:solidFill>
              <a:srgbClr val="FF99CC"/>
            </a:solidFill>
            <a:miter lim="800000"/>
            <a:headEnd/>
            <a:tailEnd/>
          </a:ln>
          <a:effectLst/>
        </p:spPr>
      </p:pic>
      <p:sp>
        <p:nvSpPr>
          <p:cNvPr id="28" name="TextBox 27"/>
          <p:cNvSpPr txBox="1"/>
          <p:nvPr/>
        </p:nvSpPr>
        <p:spPr>
          <a:xfrm>
            <a:off x="4498823" y="951624"/>
            <a:ext cx="2347415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Парта будущего </a:t>
            </a:r>
            <a:endParaRPr lang="ru-RU" sz="24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2598327" y="1375548"/>
            <a:ext cx="6554382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В каждой школе есть обычные школьные парты.</a:t>
            </a:r>
            <a:endParaRPr lang="ru-RU" sz="2400" dirty="0"/>
          </a:p>
        </p:txBody>
      </p:sp>
      <p:sp>
        <p:nvSpPr>
          <p:cNvPr id="30" name="TextBox 29"/>
          <p:cNvSpPr txBox="1"/>
          <p:nvPr/>
        </p:nvSpPr>
        <p:spPr>
          <a:xfrm>
            <a:off x="1753355" y="4234476"/>
            <a:ext cx="8930322" cy="193899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Они не всегда были такими. И, конечно, ещё будут меняться.</a:t>
            </a:r>
          </a:p>
          <a:p>
            <a:r>
              <a:rPr lang="ru-RU" sz="2400" dirty="0" smtClean="0"/>
              <a:t>Как вы думаете, какой может стать школьная парта в будущем?</a:t>
            </a:r>
          </a:p>
          <a:p>
            <a:r>
              <a:rPr lang="ru-RU" sz="2400" dirty="0" smtClean="0"/>
              <a:t>Как можно усовершенствовать парту, чтобы появились новые функции, дополнительные возможности в её использовании?</a:t>
            </a:r>
          </a:p>
          <a:p>
            <a:r>
              <a:rPr lang="ru-RU" sz="2400" dirty="0" smtClean="0"/>
              <a:t>Проявите своё воображение! Желаем удачи!</a:t>
            </a:r>
            <a:endParaRPr lang="ru-RU" sz="2400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cxnSp>
        <p:nvCxnSpPr>
          <p:cNvPr id="33" name="Прямая соединительная линия 3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4" name="Группа 3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5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1" name="Прямая соединительная линия 5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68153" y="6416821"/>
            <a:ext cx="781552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hlinkClick r:id="rId9"/>
              </a:rPr>
              <a:t>Креативное мышление. Сборник эталонных заданий. Выпуск 1</a:t>
            </a:r>
            <a:endParaRPr lang="ru-RU" sz="1200" b="1" dirty="0"/>
          </a:p>
        </p:txBody>
      </p:sp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98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47562" y="426316"/>
            <a:ext cx="61498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пыт креативного мышл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654967" y="1419367"/>
            <a:ext cx="5984084" cy="48936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Задание </a:t>
            </a:r>
          </a:p>
          <a:p>
            <a:endParaRPr lang="ru-RU" sz="2400" b="1" dirty="0" smtClean="0"/>
          </a:p>
          <a:p>
            <a:r>
              <a:rPr lang="ru-RU" sz="2400" dirty="0" smtClean="0"/>
              <a:t>Предложите три различных изменения,                   при помощи которых  можно было бы усовершенствовать школьную парту и расширить возможности её использования                 в учебных целях. Основное назначение парты как рабочего места ученика должно быть сохранено.</a:t>
            </a:r>
          </a:p>
          <a:p>
            <a:r>
              <a:rPr lang="ru-RU" sz="2400" dirty="0" smtClean="0"/>
              <a:t>Запишите свои предложения.</a:t>
            </a:r>
          </a:p>
          <a:p>
            <a:r>
              <a:rPr lang="ru-RU" sz="2400" dirty="0" smtClean="0"/>
              <a:t>Усовершенствование 1 </a:t>
            </a:r>
          </a:p>
          <a:p>
            <a:r>
              <a:rPr lang="ru-RU" sz="2400" dirty="0" smtClean="0"/>
              <a:t>Усовершенствование 2</a:t>
            </a:r>
          </a:p>
          <a:p>
            <a:r>
              <a:rPr lang="ru-RU" sz="2400" dirty="0" smtClean="0"/>
              <a:t>Усовершенствование 3</a:t>
            </a:r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4334" y="1600856"/>
            <a:ext cx="3119849" cy="41175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104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984036" y="108510"/>
            <a:ext cx="614988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пыт креативного мышл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248828" y="1747757"/>
            <a:ext cx="657727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/>
              <a:t>Задание</a:t>
            </a:r>
          </a:p>
          <a:p>
            <a:r>
              <a:rPr lang="ru-RU" sz="2400" dirty="0" smtClean="0"/>
              <a:t>Выберите среди своих усовершенствований самое полезное, интересное и оригинальное. Усовершенствование должно сохранять основное назначение парты как рабочего места ученика, но расширять возможности использования парты в процессе учения. </a:t>
            </a:r>
          </a:p>
          <a:p>
            <a:r>
              <a:rPr lang="ru-RU" sz="2400" dirty="0" smtClean="0"/>
              <a:t>Вы можете предложить и новую идею.</a:t>
            </a:r>
            <a:endParaRPr lang="ru-RU" sz="2400" dirty="0"/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972841" y="1865952"/>
            <a:ext cx="4929925" cy="3179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6" name="Прямая соединительная линия 4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192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9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984036" y="108510"/>
            <a:ext cx="88292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Опыт финансовой грамотности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Группа 2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6" name="Прямая соединительная линия 4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685678" y="6470892"/>
            <a:ext cx="95755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hlinkClick r:id="rId8"/>
              </a:rPr>
              <a:t>Финансовая грамотность. Сборник эталонных заданий. Выпуск </a:t>
            </a:r>
            <a:r>
              <a:rPr lang="ru-RU" sz="1200" b="1" dirty="0" smtClean="0">
                <a:hlinkClick r:id="rId8"/>
              </a:rPr>
              <a:t>1</a:t>
            </a:r>
            <a:r>
              <a:rPr lang="ru-RU" sz="1200" b="1" dirty="0">
                <a:hlinkClick r:id="rId8"/>
              </a:rPr>
              <a:t>. Автор: Козлова А. А, </a:t>
            </a:r>
            <a:r>
              <a:rPr lang="ru-RU" sz="1200" b="1" dirty="0" err="1">
                <a:hlinkClick r:id="rId8"/>
              </a:rPr>
              <a:t>Половникова</a:t>
            </a:r>
            <a:r>
              <a:rPr lang="ru-RU" sz="1200" b="1" dirty="0">
                <a:hlinkClick r:id="rId8"/>
              </a:rPr>
              <a:t> А.В., Рутковская Е.Л., </a:t>
            </a:r>
            <a:r>
              <a:rPr lang="ru-RU" sz="1200" b="1" dirty="0" err="1">
                <a:hlinkClick r:id="rId8"/>
              </a:rPr>
              <a:t>Королькова</a:t>
            </a:r>
            <a:r>
              <a:rPr lang="ru-RU" sz="1200" b="1" dirty="0">
                <a:hlinkClick r:id="rId8"/>
              </a:rPr>
              <a:t> Е.С.</a:t>
            </a:r>
            <a:endParaRPr lang="ru-RU" sz="12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4086226" y="961636"/>
            <a:ext cx="79459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я и Денис ехали в метро и увидели в вагоне рекламу двух банков, которые предлагают сделать вклад.</a:t>
            </a:r>
          </a:p>
          <a:p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Как кстати, — сказала Аня. — Мы с сестрой работали всё </a:t>
            </a:r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о 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ели собрать определённую сумму денег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 вижу, что хранить эти деньги выгодно в банке. </a:t>
            </a:r>
            <a:endParaRPr lang="ru-RU" sz="19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9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sz="1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ёт процентов можно увеличить вложенную сумму.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00"/>
          <a:stretch/>
        </p:blipFill>
        <p:spPr bwMode="auto">
          <a:xfrm>
            <a:off x="137988" y="904003"/>
            <a:ext cx="3948238" cy="1834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9" name="Таблица 48"/>
          <p:cNvGraphicFramePr>
            <a:graphicFrameLocks noGrp="1"/>
          </p:cNvGraphicFramePr>
          <p:nvPr>
            <p:extLst/>
          </p:nvPr>
        </p:nvGraphicFramePr>
        <p:xfrm>
          <a:off x="244876" y="3036903"/>
          <a:ext cx="7119495" cy="267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90370"/>
                <a:gridCol w="1985962"/>
                <a:gridCol w="2443163"/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ловия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нк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Пегас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Цезарь»</a:t>
                      </a:r>
                      <a:endParaRPr lang="ru-RU" b="1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инимальный вклад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000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ая ставк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 годовых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800" b="0" i="0" u="none" strike="noStrike" kern="1200" baseline="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 вклада</a:t>
                      </a:r>
                      <a:endParaRPr lang="ru-RU" sz="18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 1 года</a:t>
                      </a:r>
                      <a:endParaRPr lang="ru-RU" sz="1800" kern="1200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 месяца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с возможностью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ичного снятия</a:t>
                      </a:r>
                    </a:p>
                    <a:p>
                      <a:pPr algn="ctr"/>
                      <a:r>
                        <a:rPr lang="ru-RU" dirty="0" smtClean="0">
                          <a:solidFill>
                            <a:srgbClr val="00336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г)</a:t>
                      </a:r>
                      <a:endParaRPr lang="ru-RU" dirty="0">
                        <a:solidFill>
                          <a:srgbClr val="003366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0" name="Прямоугольник 49"/>
          <p:cNvSpPr/>
          <p:nvPr/>
        </p:nvSpPr>
        <p:spPr>
          <a:xfrm>
            <a:off x="7502616" y="2808295"/>
            <a:ext cx="452956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Задание 1</a:t>
            </a:r>
          </a:p>
          <a:p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колько рублей увеличится вложенная сумма, если Аня и её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стра откроют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ый вклад на один год в банке «Пегас»? </a:t>
            </a:r>
            <a:r>
              <a:rPr lang="ru-RU" dirty="0" smtClean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ерите один </a:t>
            </a:r>
            <a:r>
              <a:rPr lang="ru-RU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ый ответ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213367" y="4562621"/>
            <a:ext cx="285306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1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8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10 000 рублей</a:t>
            </a:r>
          </a:p>
          <a:p>
            <a:r>
              <a:rPr lang="ru-RU" sz="2000" dirty="0">
                <a:solidFill>
                  <a:srgbClr val="0033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11 000 рублей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8931076" y="5886060"/>
            <a:ext cx="27642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</a:rPr>
              <a:t>Ответ</a:t>
            </a:r>
            <a:r>
              <a:rPr lang="ru-RU" sz="2000" b="1" dirty="0" smtClean="0">
                <a:solidFill>
                  <a:srgbClr val="002060"/>
                </a:solidFill>
              </a:rPr>
              <a:t>: на 1 000 рублей.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53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855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3" y="1085439"/>
            <a:ext cx="4709664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97715" y="1853863"/>
            <a:ext cx="5376222" cy="4448397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PISA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итуаций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.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b="1" dirty="0">
                <a:ea typeface="Open Sans" pitchFamily="34" charset="0"/>
                <a:cs typeface="Open Sans" pitchFamily="34" charset="0"/>
              </a:rPr>
              <a:t>Готовится второй выпуск (март 2021 г.)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44" y="40075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466" y="410975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65" y="4018480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327" y="407958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67" y="5356173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48015" y="6113319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hlinkClick r:id="rId12"/>
              </a:rPr>
              <a:t>https://</a:t>
            </a:r>
            <a:r>
              <a:rPr lang="ru-RU" sz="1400" dirty="0" smtClean="0">
                <a:hlinkClick r:id="rId12"/>
              </a:rPr>
              <a:t>prosv.ru/pages/pisa.html</a:t>
            </a:r>
            <a:endParaRPr lang="en-US" sz="1400" dirty="0" smtClean="0"/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1649" y="6292470"/>
            <a:ext cx="516320" cy="530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937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17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56990" y="170413"/>
            <a:ext cx="2859558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 задачи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2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49" y="810579"/>
            <a:ext cx="3235860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84791" y="1156310"/>
            <a:ext cx="1103659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</a:t>
            </a:r>
            <a:r>
              <a:rPr lang="ru-RU" dirty="0" smtClean="0"/>
              <a:t>помоги другому</a:t>
            </a:r>
            <a:r>
              <a:rPr lang="ru-RU" dirty="0"/>
              <a:t>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</a:t>
            </a:r>
            <a:r>
              <a:rPr lang="ru-RU" dirty="0" smtClean="0"/>
              <a:t>                из </a:t>
            </a:r>
            <a:r>
              <a:rPr lang="ru-RU" dirty="0"/>
              <a:t>них — </a:t>
            </a:r>
            <a:r>
              <a:rPr lang="ru-RU" dirty="0" smtClean="0"/>
              <a:t>молодёжь </a:t>
            </a:r>
            <a:r>
              <a:rPr lang="ru-RU" dirty="0"/>
              <a:t>в 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с друго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96460" y="3459392"/>
            <a:ext cx="545271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1</a:t>
            </a:r>
          </a:p>
          <a:p>
            <a:pPr algn="just"/>
            <a:r>
              <a:rPr lang="ru-RU" dirty="0"/>
              <a:t>Для руководителей волонтёрского движения </a:t>
            </a:r>
            <a:r>
              <a:rPr lang="en-US" dirty="0" smtClean="0"/>
              <a:t>                                 </a:t>
            </a:r>
            <a:r>
              <a:rPr lang="ru-RU" dirty="0" smtClean="0"/>
              <a:t>из </a:t>
            </a:r>
            <a:r>
              <a:rPr lang="ru-RU" dirty="0"/>
              <a:t>разных </a:t>
            </a:r>
            <a:r>
              <a:rPr lang="ru-RU" dirty="0" smtClean="0"/>
              <a:t>городов России </a:t>
            </a:r>
            <a:r>
              <a:rPr lang="ru-RU" dirty="0"/>
              <a:t>решено провести </a:t>
            </a:r>
            <a:r>
              <a:rPr lang="ru-RU" dirty="0" err="1"/>
              <a:t>вебинар</a:t>
            </a:r>
            <a:r>
              <a:rPr lang="ru-RU" dirty="0"/>
              <a:t>. Часовые пояса разных </a:t>
            </a:r>
            <a:r>
              <a:rPr lang="ru-RU" dirty="0" smtClean="0"/>
              <a:t>городов России </a:t>
            </a:r>
            <a:r>
              <a:rPr lang="ru-RU" dirty="0"/>
              <a:t>представлены на </a:t>
            </a:r>
            <a:r>
              <a:rPr lang="ru-RU" dirty="0" smtClean="0"/>
              <a:t>рисунке. </a:t>
            </a:r>
            <a:r>
              <a:rPr lang="ru-RU" dirty="0"/>
              <a:t>Найдите разницу во </a:t>
            </a:r>
            <a:r>
              <a:rPr lang="ru-RU" dirty="0" smtClean="0"/>
              <a:t>времени между </a:t>
            </a:r>
            <a:r>
              <a:rPr lang="ru-RU" dirty="0"/>
              <a:t>самым западным и самым восточным городами России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506" y="2910635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0" name="Прямая соединительная линия 2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Рисунок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194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18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93805" y="149972"/>
            <a:ext cx="68504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писки на манжетах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2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28223" y="1279732"/>
            <a:ext cx="1058174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</a:t>
            </a:r>
            <a:r>
              <a:rPr lang="ru-RU" b="1" dirty="0" smtClean="0">
                <a:solidFill>
                  <a:srgbClr val="FF0000"/>
                </a:solidFill>
              </a:rPr>
              <a:t>с </a:t>
            </a:r>
            <a:r>
              <a:rPr lang="ru-RU" b="1" dirty="0">
                <a:solidFill>
                  <a:srgbClr val="FF0000"/>
                </a:solidFill>
              </a:rPr>
              <a:t>1995 года</a:t>
            </a:r>
            <a:r>
              <a:rPr lang="ru-RU" dirty="0"/>
              <a:t>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</a:t>
            </a:r>
            <a:r>
              <a:rPr lang="ru-RU" dirty="0" smtClean="0"/>
              <a:t>помоги другому</a:t>
            </a:r>
            <a:r>
              <a:rPr lang="ru-RU" dirty="0"/>
              <a:t>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</a:t>
            </a:r>
            <a:r>
              <a:rPr lang="ru-RU" b="1" dirty="0">
                <a:solidFill>
                  <a:srgbClr val="FF0000"/>
                </a:solidFill>
              </a:rPr>
              <a:t>более 1,5 тыс. </a:t>
            </a:r>
            <a:r>
              <a:rPr lang="ru-RU" dirty="0"/>
              <a:t>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</a:t>
            </a:r>
            <a:r>
              <a:rPr lang="ru-RU" b="1" dirty="0">
                <a:solidFill>
                  <a:srgbClr val="FF0000"/>
                </a:solidFill>
              </a:rPr>
              <a:t>31,4 тыс. </a:t>
            </a:r>
            <a:r>
              <a:rPr lang="ru-RU" dirty="0"/>
              <a:t>волонтёров. Большая часть из них — </a:t>
            </a:r>
            <a:r>
              <a:rPr lang="ru-RU" dirty="0" smtClean="0"/>
              <a:t>молодёжь </a:t>
            </a:r>
            <a:r>
              <a:rPr lang="ru-RU" dirty="0"/>
              <a:t>в возрасте младше </a:t>
            </a:r>
            <a:r>
              <a:rPr lang="ru-RU" b="1" dirty="0">
                <a:solidFill>
                  <a:srgbClr val="FF0000"/>
                </a:solidFill>
              </a:rPr>
              <a:t>17 лет (23%) </a:t>
            </a:r>
            <a:r>
              <a:rPr lang="ru-RU" dirty="0"/>
              <a:t>и </a:t>
            </a:r>
            <a:r>
              <a:rPr lang="ru-RU" b="1" dirty="0">
                <a:solidFill>
                  <a:srgbClr val="FF0000"/>
                </a:solidFill>
              </a:rPr>
              <a:t>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с другом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1675" y="3582296"/>
            <a:ext cx="4915533" cy="2844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>
          <a:xfrm>
            <a:off x="786728" y="3582296"/>
            <a:ext cx="5700231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1</a:t>
            </a:r>
          </a:p>
          <a:p>
            <a:pPr algn="just"/>
            <a:r>
              <a:rPr lang="ru-RU" dirty="0"/>
              <a:t>Для руководителей волонтёрского движения </a:t>
            </a:r>
            <a:r>
              <a:rPr lang="en-US" dirty="0" smtClean="0"/>
              <a:t> </a:t>
            </a:r>
            <a:r>
              <a:rPr lang="ru-RU" dirty="0" smtClean="0"/>
              <a:t>из </a:t>
            </a:r>
            <a:r>
              <a:rPr lang="ru-RU" dirty="0"/>
              <a:t>разных </a:t>
            </a:r>
            <a:r>
              <a:rPr lang="ru-RU" dirty="0" smtClean="0"/>
              <a:t>городов России </a:t>
            </a:r>
            <a:r>
              <a:rPr lang="ru-RU" dirty="0"/>
              <a:t>решено провести </a:t>
            </a:r>
            <a:r>
              <a:rPr lang="ru-RU" b="1" dirty="0" err="1">
                <a:solidFill>
                  <a:srgbClr val="FF11FF"/>
                </a:solidFill>
              </a:rPr>
              <a:t>вебинар</a:t>
            </a:r>
            <a:r>
              <a:rPr lang="ru-RU" b="1" dirty="0">
                <a:solidFill>
                  <a:srgbClr val="FF11FF"/>
                </a:solidFill>
              </a:rPr>
              <a:t>. Часовые пояса </a:t>
            </a:r>
            <a:r>
              <a:rPr lang="ru-RU" dirty="0"/>
              <a:t>разных </a:t>
            </a:r>
            <a:r>
              <a:rPr lang="ru-RU" dirty="0" smtClean="0"/>
              <a:t>городов России </a:t>
            </a:r>
            <a:r>
              <a:rPr lang="ru-RU" dirty="0"/>
              <a:t>представлены на </a:t>
            </a:r>
            <a:r>
              <a:rPr lang="ru-RU" dirty="0" smtClean="0"/>
              <a:t>рисунке. </a:t>
            </a:r>
            <a:r>
              <a:rPr lang="ru-RU" dirty="0"/>
              <a:t>Найдите </a:t>
            </a:r>
            <a:r>
              <a:rPr lang="ru-RU" b="1" dirty="0">
                <a:solidFill>
                  <a:srgbClr val="FF11FF"/>
                </a:solidFill>
              </a:rPr>
              <a:t>разницу во </a:t>
            </a:r>
            <a:r>
              <a:rPr lang="ru-RU" b="1" dirty="0" smtClean="0">
                <a:solidFill>
                  <a:srgbClr val="FF11FF"/>
                </a:solidFill>
              </a:rPr>
              <a:t>времени </a:t>
            </a:r>
            <a:r>
              <a:rPr lang="ru-RU" dirty="0" smtClean="0"/>
              <a:t>между </a:t>
            </a:r>
            <a:r>
              <a:rPr lang="ru-RU" b="1" dirty="0">
                <a:solidFill>
                  <a:srgbClr val="FF11FF"/>
                </a:solidFill>
              </a:rPr>
              <a:t>самым западным </a:t>
            </a:r>
            <a:r>
              <a:rPr lang="ru-RU" dirty="0"/>
              <a:t>и </a:t>
            </a:r>
            <a:r>
              <a:rPr lang="ru-RU" b="1" dirty="0">
                <a:solidFill>
                  <a:srgbClr val="FF11FF"/>
                </a:solidFill>
              </a:rPr>
              <a:t>самым восточным </a:t>
            </a:r>
            <a:r>
              <a:rPr lang="ru-RU" dirty="0"/>
              <a:t>городами России.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Группа 1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78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19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66484" y="149972"/>
            <a:ext cx="424239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шаем задачи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2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943" y="780888"/>
            <a:ext cx="3414732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30705" y="1061049"/>
            <a:ext cx="1161303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</a:t>
            </a:r>
            <a:r>
              <a:rPr lang="ru-RU" dirty="0" smtClean="0"/>
              <a:t>помоги</a:t>
            </a:r>
            <a:r>
              <a:rPr lang="en-US" dirty="0" smtClean="0"/>
              <a:t> </a:t>
            </a:r>
            <a:r>
              <a:rPr lang="ru-RU" dirty="0" smtClean="0"/>
              <a:t>другому</a:t>
            </a:r>
            <a:r>
              <a:rPr lang="ru-RU" dirty="0"/>
              <a:t>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из них — </a:t>
            </a:r>
            <a:r>
              <a:rPr lang="ru-RU" dirty="0" smtClean="0"/>
              <a:t>молодёжь </a:t>
            </a:r>
            <a:r>
              <a:rPr lang="en-US" dirty="0" smtClean="0"/>
              <a:t>                       </a:t>
            </a:r>
            <a:r>
              <a:rPr lang="ru-RU" dirty="0" smtClean="0"/>
              <a:t>в </a:t>
            </a:r>
            <a:r>
              <a:rPr lang="ru-RU" dirty="0"/>
              <a:t>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</a:t>
            </a:r>
            <a:r>
              <a:rPr lang="en-US" dirty="0" smtClean="0"/>
              <a:t>               </a:t>
            </a:r>
            <a:r>
              <a:rPr lang="ru-RU" dirty="0" smtClean="0"/>
              <a:t>с </a:t>
            </a:r>
            <a:r>
              <a:rPr lang="ru-RU" dirty="0"/>
              <a:t>друго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1409" y="3148705"/>
            <a:ext cx="530564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1</a:t>
            </a:r>
          </a:p>
          <a:p>
            <a:pPr algn="just"/>
            <a:r>
              <a:rPr lang="ru-RU" dirty="0"/>
              <a:t>Для руководителей волонтёрского движения </a:t>
            </a:r>
            <a:r>
              <a:rPr lang="en-US" dirty="0" smtClean="0"/>
              <a:t>                       </a:t>
            </a:r>
            <a:r>
              <a:rPr lang="ru-RU" dirty="0" smtClean="0"/>
              <a:t>из </a:t>
            </a:r>
            <a:r>
              <a:rPr lang="ru-RU" dirty="0"/>
              <a:t>разных </a:t>
            </a:r>
            <a:r>
              <a:rPr lang="ru-RU" dirty="0" smtClean="0"/>
              <a:t>городов России </a:t>
            </a:r>
            <a:r>
              <a:rPr lang="ru-RU" dirty="0"/>
              <a:t>решено провести </a:t>
            </a:r>
            <a:r>
              <a:rPr lang="ru-RU" dirty="0" err="1"/>
              <a:t>вебинар</a:t>
            </a:r>
            <a:r>
              <a:rPr lang="ru-RU" dirty="0"/>
              <a:t>. Часовые пояса разных </a:t>
            </a:r>
            <a:r>
              <a:rPr lang="ru-RU" dirty="0" smtClean="0"/>
              <a:t>городов России </a:t>
            </a:r>
            <a:r>
              <a:rPr lang="ru-RU" dirty="0"/>
              <a:t>представлены на </a:t>
            </a:r>
            <a:r>
              <a:rPr lang="ru-RU" dirty="0" smtClean="0"/>
              <a:t>рисунке. </a:t>
            </a:r>
            <a:r>
              <a:rPr lang="ru-RU" dirty="0"/>
              <a:t>Найдите разницу </a:t>
            </a:r>
            <a:r>
              <a:rPr lang="en-US" dirty="0" smtClean="0"/>
              <a:t>                       </a:t>
            </a:r>
            <a:r>
              <a:rPr lang="ru-RU" dirty="0" smtClean="0"/>
              <a:t>во времени между </a:t>
            </a:r>
            <a:r>
              <a:rPr lang="ru-RU" dirty="0"/>
              <a:t>самым западным и самым восточным городами России.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506" y="2910635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Овал 13"/>
          <p:cNvSpPr/>
          <p:nvPr/>
        </p:nvSpPr>
        <p:spPr>
          <a:xfrm rot="20184933">
            <a:off x="6287849" y="3344175"/>
            <a:ext cx="621909" cy="8827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 rot="13584132">
            <a:off x="11108652" y="3215920"/>
            <a:ext cx="621909" cy="8827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533675" y="5180030"/>
            <a:ext cx="26108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твет. </a:t>
            </a:r>
            <a:r>
              <a:rPr lang="ru-RU" b="1" dirty="0" smtClean="0"/>
              <a:t>10 часов</a:t>
            </a:r>
            <a:r>
              <a:rPr lang="ru-RU" dirty="0" smtClean="0"/>
              <a:t> </a:t>
            </a:r>
            <a:endParaRPr lang="ru-RU" dirty="0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Группа 1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2231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Прямоугольник 372"/>
          <p:cNvSpPr/>
          <p:nvPr/>
        </p:nvSpPr>
        <p:spPr>
          <a:xfrm>
            <a:off x="137987" y="1581374"/>
            <a:ext cx="3110822" cy="5401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1" name="Прямоугольник 370"/>
          <p:cNvSpPr/>
          <p:nvPr/>
        </p:nvSpPr>
        <p:spPr>
          <a:xfrm>
            <a:off x="3241154" y="1578517"/>
            <a:ext cx="8791032" cy="542960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spc="-4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Формируя функциональную грамотность обучающихся, мы решаем задачи стратегического развития Российской </a:t>
            </a:r>
            <a:r>
              <a:rPr lang="ru-RU" sz="1600" b="1" spc="-4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Федерации</a:t>
            </a:r>
            <a:endParaRPr lang="ru-RU" sz="1600" b="1" spc="-4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9129" y="220193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Функциональная </a:t>
            </a: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грамотность в контексте национального проекта «Образование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»</a:t>
            </a:r>
            <a:endParaRPr lang="ru-RU" sz="2000" b="1" dirty="0">
              <a:solidFill>
                <a:srgbClr val="2D2B8D"/>
              </a:solidFill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grpSp>
        <p:nvGrpSpPr>
          <p:cNvPr id="47344" name="Группа 47343"/>
          <p:cNvGrpSpPr/>
          <p:nvPr/>
        </p:nvGrpSpPr>
        <p:grpSpPr>
          <a:xfrm>
            <a:off x="96040" y="1142884"/>
            <a:ext cx="3048518" cy="934400"/>
            <a:chOff x="244475" y="989013"/>
            <a:chExt cx="2955925" cy="939800"/>
          </a:xfrm>
        </p:grpSpPr>
        <p:sp>
          <p:nvSpPr>
            <p:cNvPr id="5" name="AutoShape 6"/>
            <p:cNvSpPr>
              <a:spLocks noChangeAspect="1" noChangeArrowheads="1" noTextEdit="1"/>
            </p:cNvSpPr>
            <p:nvPr/>
          </p:nvSpPr>
          <p:spPr bwMode="auto">
            <a:xfrm>
              <a:off x="244475" y="989013"/>
              <a:ext cx="2933700" cy="93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grpSp>
          <p:nvGrpSpPr>
            <p:cNvPr id="6" name="Group 208"/>
            <p:cNvGrpSpPr>
              <a:grpSpLocks/>
            </p:cNvGrpSpPr>
            <p:nvPr/>
          </p:nvGrpSpPr>
          <p:grpSpPr bwMode="auto">
            <a:xfrm>
              <a:off x="1387475" y="989013"/>
              <a:ext cx="1216025" cy="939799"/>
              <a:chOff x="874" y="623"/>
              <a:chExt cx="766" cy="592"/>
            </a:xfrm>
          </p:grpSpPr>
          <p:sp>
            <p:nvSpPr>
              <p:cNvPr id="47144" name="Freeform 8"/>
              <p:cNvSpPr>
                <a:spLocks/>
              </p:cNvSpPr>
              <p:nvPr/>
            </p:nvSpPr>
            <p:spPr bwMode="auto">
              <a:xfrm>
                <a:off x="1282" y="880"/>
                <a:ext cx="70" cy="208"/>
              </a:xfrm>
              <a:custGeom>
                <a:avLst/>
                <a:gdLst>
                  <a:gd name="T0" fmla="*/ 360 w 360"/>
                  <a:gd name="T1" fmla="*/ 25 h 1070"/>
                  <a:gd name="T2" fmla="*/ 360 w 360"/>
                  <a:gd name="T3" fmla="*/ 1070 h 1070"/>
                  <a:gd name="T4" fmla="*/ 312 w 360"/>
                  <a:gd name="T5" fmla="*/ 1065 h 1070"/>
                  <a:gd name="T6" fmla="*/ 312 w 360"/>
                  <a:gd name="T7" fmla="*/ 1065 h 1070"/>
                  <a:gd name="T8" fmla="*/ 128 w 360"/>
                  <a:gd name="T9" fmla="*/ 1065 h 1070"/>
                  <a:gd name="T10" fmla="*/ 0 w 360"/>
                  <a:gd name="T11" fmla="*/ 1065 h 1070"/>
                  <a:gd name="T12" fmla="*/ 0 w 360"/>
                  <a:gd name="T13" fmla="*/ 25 h 1070"/>
                  <a:gd name="T14" fmla="*/ 24 w 360"/>
                  <a:gd name="T15" fmla="*/ 0 h 1070"/>
                  <a:gd name="T16" fmla="*/ 335 w 360"/>
                  <a:gd name="T17" fmla="*/ 0 h 1070"/>
                  <a:gd name="T18" fmla="*/ 360 w 360"/>
                  <a:gd name="T19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1070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44" y="1066"/>
                      <a:pt x="328" y="1065"/>
                      <a:pt x="312" y="1065"/>
                    </a:cubicBezTo>
                    <a:lnTo>
                      <a:pt x="312" y="1065"/>
                    </a:lnTo>
                    <a:lnTo>
                      <a:pt x="128" y="1065"/>
                    </a:lnTo>
                    <a:lnTo>
                      <a:pt x="0" y="1065"/>
                    </a:ln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9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5" name="Freeform 9"/>
              <p:cNvSpPr>
                <a:spLocks/>
              </p:cNvSpPr>
              <p:nvPr/>
            </p:nvSpPr>
            <p:spPr bwMode="auto">
              <a:xfrm>
                <a:off x="1352" y="880"/>
                <a:ext cx="69" cy="240"/>
              </a:xfrm>
              <a:custGeom>
                <a:avLst/>
                <a:gdLst>
                  <a:gd name="T0" fmla="*/ 360 w 360"/>
                  <a:gd name="T1" fmla="*/ 25 h 1235"/>
                  <a:gd name="T2" fmla="*/ 360 w 360"/>
                  <a:gd name="T3" fmla="*/ 1070 h 1235"/>
                  <a:gd name="T4" fmla="*/ 248 w 360"/>
                  <a:gd name="T5" fmla="*/ 1132 h 1235"/>
                  <a:gd name="T6" fmla="*/ 248 w 360"/>
                  <a:gd name="T7" fmla="*/ 1132 h 1235"/>
                  <a:gd name="T8" fmla="*/ 188 w 360"/>
                  <a:gd name="T9" fmla="*/ 1235 h 1235"/>
                  <a:gd name="T10" fmla="*/ 173 w 360"/>
                  <a:gd name="T11" fmla="*/ 1235 h 1235"/>
                  <a:gd name="T12" fmla="*/ 114 w 360"/>
                  <a:gd name="T13" fmla="*/ 1132 h 1235"/>
                  <a:gd name="T14" fmla="*/ 114 w 360"/>
                  <a:gd name="T15" fmla="*/ 1132 h 1235"/>
                  <a:gd name="T16" fmla="*/ 0 w 360"/>
                  <a:gd name="T17" fmla="*/ 1070 h 1235"/>
                  <a:gd name="T18" fmla="*/ 0 w 360"/>
                  <a:gd name="T19" fmla="*/ 25 h 1235"/>
                  <a:gd name="T20" fmla="*/ 24 w 360"/>
                  <a:gd name="T21" fmla="*/ 0 h 1235"/>
                  <a:gd name="T22" fmla="*/ 335 w 360"/>
                  <a:gd name="T23" fmla="*/ 0 h 1235"/>
                  <a:gd name="T24" fmla="*/ 360 w 360"/>
                  <a:gd name="T25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1235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16" y="1080"/>
                      <a:pt x="278" y="1101"/>
                      <a:pt x="248" y="1132"/>
                    </a:cubicBezTo>
                    <a:lnTo>
                      <a:pt x="248" y="1132"/>
                    </a:lnTo>
                    <a:cubicBezTo>
                      <a:pt x="220" y="1160"/>
                      <a:pt x="199" y="1195"/>
                      <a:pt x="188" y="1235"/>
                    </a:cubicBezTo>
                    <a:lnTo>
                      <a:pt x="173" y="1235"/>
                    </a:lnTo>
                    <a:cubicBezTo>
                      <a:pt x="163" y="1195"/>
                      <a:pt x="142" y="1160"/>
                      <a:pt x="114" y="1132"/>
                    </a:cubicBezTo>
                    <a:lnTo>
                      <a:pt x="114" y="1132"/>
                    </a:lnTo>
                    <a:cubicBezTo>
                      <a:pt x="83" y="1101"/>
                      <a:pt x="44" y="1079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6" name="Freeform 10"/>
              <p:cNvSpPr>
                <a:spLocks/>
              </p:cNvSpPr>
              <p:nvPr/>
            </p:nvSpPr>
            <p:spPr bwMode="auto">
              <a:xfrm>
                <a:off x="1421" y="880"/>
                <a:ext cx="70" cy="208"/>
              </a:xfrm>
              <a:custGeom>
                <a:avLst/>
                <a:gdLst>
                  <a:gd name="T0" fmla="*/ 359 w 359"/>
                  <a:gd name="T1" fmla="*/ 25 h 1070"/>
                  <a:gd name="T2" fmla="*/ 359 w 359"/>
                  <a:gd name="T3" fmla="*/ 1065 h 1070"/>
                  <a:gd name="T4" fmla="*/ 49 w 359"/>
                  <a:gd name="T5" fmla="*/ 1065 h 1070"/>
                  <a:gd name="T6" fmla="*/ 49 w 359"/>
                  <a:gd name="T7" fmla="*/ 1065 h 1070"/>
                  <a:gd name="T8" fmla="*/ 0 w 359"/>
                  <a:gd name="T9" fmla="*/ 1070 h 1070"/>
                  <a:gd name="T10" fmla="*/ 0 w 359"/>
                  <a:gd name="T11" fmla="*/ 25 h 1070"/>
                  <a:gd name="T12" fmla="*/ 24 w 359"/>
                  <a:gd name="T13" fmla="*/ 0 h 1070"/>
                  <a:gd name="T14" fmla="*/ 335 w 359"/>
                  <a:gd name="T15" fmla="*/ 0 h 1070"/>
                  <a:gd name="T16" fmla="*/ 359 w 359"/>
                  <a:gd name="T17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070">
                    <a:moveTo>
                      <a:pt x="359" y="25"/>
                    </a:moveTo>
                    <a:lnTo>
                      <a:pt x="359" y="1065"/>
                    </a:lnTo>
                    <a:lnTo>
                      <a:pt x="49" y="1065"/>
                    </a:lnTo>
                    <a:lnTo>
                      <a:pt x="49" y="1065"/>
                    </a:lnTo>
                    <a:cubicBezTo>
                      <a:pt x="32" y="1065"/>
                      <a:pt x="16" y="1067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59" y="12"/>
                      <a:pt x="359" y="25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7" name="Freeform 11"/>
              <p:cNvSpPr>
                <a:spLocks/>
              </p:cNvSpPr>
              <p:nvPr/>
            </p:nvSpPr>
            <p:spPr bwMode="auto">
              <a:xfrm>
                <a:off x="1317" y="880"/>
                <a:ext cx="35" cy="208"/>
              </a:xfrm>
              <a:custGeom>
                <a:avLst/>
                <a:gdLst>
                  <a:gd name="T0" fmla="*/ 180 w 180"/>
                  <a:gd name="T1" fmla="*/ 25 h 1070"/>
                  <a:gd name="T2" fmla="*/ 180 w 180"/>
                  <a:gd name="T3" fmla="*/ 1070 h 1070"/>
                  <a:gd name="T4" fmla="*/ 132 w 180"/>
                  <a:gd name="T5" fmla="*/ 1065 h 1070"/>
                  <a:gd name="T6" fmla="*/ 132 w 180"/>
                  <a:gd name="T7" fmla="*/ 1065 h 1070"/>
                  <a:gd name="T8" fmla="*/ 0 w 180"/>
                  <a:gd name="T9" fmla="*/ 1065 h 1070"/>
                  <a:gd name="T10" fmla="*/ 0 w 180"/>
                  <a:gd name="T11" fmla="*/ 0 h 1070"/>
                  <a:gd name="T12" fmla="*/ 155 w 180"/>
                  <a:gd name="T13" fmla="*/ 0 h 1070"/>
                  <a:gd name="T14" fmla="*/ 180 w 180"/>
                  <a:gd name="T15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070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64" y="1066"/>
                      <a:pt x="148" y="1065"/>
                      <a:pt x="132" y="1065"/>
                    </a:cubicBezTo>
                    <a:lnTo>
                      <a:pt x="132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8" name="Freeform 12"/>
              <p:cNvSpPr>
                <a:spLocks/>
              </p:cNvSpPr>
              <p:nvPr/>
            </p:nvSpPr>
            <p:spPr bwMode="auto">
              <a:xfrm>
                <a:off x="1387" y="880"/>
                <a:ext cx="34" cy="240"/>
              </a:xfrm>
              <a:custGeom>
                <a:avLst/>
                <a:gdLst>
                  <a:gd name="T0" fmla="*/ 180 w 180"/>
                  <a:gd name="T1" fmla="*/ 25 h 1235"/>
                  <a:gd name="T2" fmla="*/ 180 w 180"/>
                  <a:gd name="T3" fmla="*/ 1070 h 1235"/>
                  <a:gd name="T4" fmla="*/ 68 w 180"/>
                  <a:gd name="T5" fmla="*/ 1132 h 1235"/>
                  <a:gd name="T6" fmla="*/ 68 w 180"/>
                  <a:gd name="T7" fmla="*/ 1132 h 1235"/>
                  <a:gd name="T8" fmla="*/ 8 w 180"/>
                  <a:gd name="T9" fmla="*/ 1235 h 1235"/>
                  <a:gd name="T10" fmla="*/ 0 w 180"/>
                  <a:gd name="T11" fmla="*/ 1235 h 1235"/>
                  <a:gd name="T12" fmla="*/ 0 w 180"/>
                  <a:gd name="T13" fmla="*/ 0 h 1235"/>
                  <a:gd name="T14" fmla="*/ 155 w 180"/>
                  <a:gd name="T15" fmla="*/ 0 h 1235"/>
                  <a:gd name="T16" fmla="*/ 180 w 180"/>
                  <a:gd name="T17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235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36" y="1080"/>
                      <a:pt x="98" y="1101"/>
                      <a:pt x="68" y="1132"/>
                    </a:cubicBezTo>
                    <a:lnTo>
                      <a:pt x="68" y="1132"/>
                    </a:lnTo>
                    <a:cubicBezTo>
                      <a:pt x="40" y="1160"/>
                      <a:pt x="19" y="1195"/>
                      <a:pt x="8" y="1235"/>
                    </a:cubicBezTo>
                    <a:lnTo>
                      <a:pt x="0" y="123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8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9" name="Freeform 13"/>
              <p:cNvSpPr>
                <a:spLocks/>
              </p:cNvSpPr>
              <p:nvPr/>
            </p:nvSpPr>
            <p:spPr bwMode="auto">
              <a:xfrm>
                <a:off x="1456" y="880"/>
                <a:ext cx="35" cy="207"/>
              </a:xfrm>
              <a:custGeom>
                <a:avLst/>
                <a:gdLst>
                  <a:gd name="T0" fmla="*/ 180 w 180"/>
                  <a:gd name="T1" fmla="*/ 25 h 1065"/>
                  <a:gd name="T2" fmla="*/ 180 w 180"/>
                  <a:gd name="T3" fmla="*/ 1065 h 1065"/>
                  <a:gd name="T4" fmla="*/ 0 w 180"/>
                  <a:gd name="T5" fmla="*/ 1065 h 1065"/>
                  <a:gd name="T6" fmla="*/ 0 w 180"/>
                  <a:gd name="T7" fmla="*/ 0 h 1065"/>
                  <a:gd name="T8" fmla="*/ 156 w 180"/>
                  <a:gd name="T9" fmla="*/ 0 h 1065"/>
                  <a:gd name="T10" fmla="*/ 180 w 180"/>
                  <a:gd name="T11" fmla="*/ 25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065">
                    <a:moveTo>
                      <a:pt x="180" y="25"/>
                    </a:moveTo>
                    <a:lnTo>
                      <a:pt x="180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6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0" name="Rectangle 14"/>
              <p:cNvSpPr>
                <a:spLocks noChangeArrowheads="1"/>
              </p:cNvSpPr>
              <p:nvPr/>
            </p:nvSpPr>
            <p:spPr bwMode="auto">
              <a:xfrm>
                <a:off x="128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1" name="Rectangle 15"/>
              <p:cNvSpPr>
                <a:spLocks noChangeArrowheads="1"/>
              </p:cNvSpPr>
              <p:nvPr/>
            </p:nvSpPr>
            <p:spPr bwMode="auto">
              <a:xfrm>
                <a:off x="128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2" name="Rectangle 16"/>
              <p:cNvSpPr>
                <a:spLocks noChangeArrowheads="1"/>
              </p:cNvSpPr>
              <p:nvPr/>
            </p:nvSpPr>
            <p:spPr bwMode="auto">
              <a:xfrm>
                <a:off x="135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3" name="Rectangle 17"/>
              <p:cNvSpPr>
                <a:spLocks noChangeArrowheads="1"/>
              </p:cNvSpPr>
              <p:nvPr/>
            </p:nvSpPr>
            <p:spPr bwMode="auto">
              <a:xfrm>
                <a:off x="135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4" name="Rectangle 18"/>
              <p:cNvSpPr>
                <a:spLocks noChangeArrowheads="1"/>
              </p:cNvSpPr>
              <p:nvPr/>
            </p:nvSpPr>
            <p:spPr bwMode="auto">
              <a:xfrm>
                <a:off x="142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5" name="Rectangle 19"/>
              <p:cNvSpPr>
                <a:spLocks noChangeArrowheads="1"/>
              </p:cNvSpPr>
              <p:nvPr/>
            </p:nvSpPr>
            <p:spPr bwMode="auto">
              <a:xfrm>
                <a:off x="142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6" name="Rectangle 20"/>
              <p:cNvSpPr>
                <a:spLocks noChangeArrowheads="1"/>
              </p:cNvSpPr>
              <p:nvPr/>
            </p:nvSpPr>
            <p:spPr bwMode="auto">
              <a:xfrm>
                <a:off x="131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7" name="Rectangle 21"/>
              <p:cNvSpPr>
                <a:spLocks noChangeArrowheads="1"/>
              </p:cNvSpPr>
              <p:nvPr/>
            </p:nvSpPr>
            <p:spPr bwMode="auto">
              <a:xfrm>
                <a:off x="131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8" name="Rectangle 22"/>
              <p:cNvSpPr>
                <a:spLocks noChangeArrowheads="1"/>
              </p:cNvSpPr>
              <p:nvPr/>
            </p:nvSpPr>
            <p:spPr bwMode="auto">
              <a:xfrm>
                <a:off x="138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9" name="Rectangle 23"/>
              <p:cNvSpPr>
                <a:spLocks noChangeArrowheads="1"/>
              </p:cNvSpPr>
              <p:nvPr/>
            </p:nvSpPr>
            <p:spPr bwMode="auto">
              <a:xfrm>
                <a:off x="138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0" name="Rectangle 24"/>
              <p:cNvSpPr>
                <a:spLocks noChangeArrowheads="1"/>
              </p:cNvSpPr>
              <p:nvPr/>
            </p:nvSpPr>
            <p:spPr bwMode="auto">
              <a:xfrm>
                <a:off x="1456" y="913"/>
                <a:ext cx="31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1" name="Rectangle 25"/>
              <p:cNvSpPr>
                <a:spLocks noChangeArrowheads="1"/>
              </p:cNvSpPr>
              <p:nvPr/>
            </p:nvSpPr>
            <p:spPr bwMode="auto">
              <a:xfrm>
                <a:off x="1456" y="903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2" name="Freeform 26"/>
              <p:cNvSpPr>
                <a:spLocks noEditPoints="1"/>
              </p:cNvSpPr>
              <p:nvPr/>
            </p:nvSpPr>
            <p:spPr bwMode="auto">
              <a:xfrm>
                <a:off x="1491" y="877"/>
                <a:ext cx="120" cy="337"/>
              </a:xfrm>
              <a:custGeom>
                <a:avLst/>
                <a:gdLst>
                  <a:gd name="T0" fmla="*/ 357 w 618"/>
                  <a:gd name="T1" fmla="*/ 22 h 1739"/>
                  <a:gd name="T2" fmla="*/ 524 w 618"/>
                  <a:gd name="T3" fmla="*/ 1080 h 1739"/>
                  <a:gd name="T4" fmla="*/ 160 w 618"/>
                  <a:gd name="T5" fmla="*/ 1080 h 1739"/>
                  <a:gd name="T6" fmla="*/ 2 w 618"/>
                  <a:gd name="T7" fmla="*/ 78 h 1739"/>
                  <a:gd name="T8" fmla="*/ 22 w 618"/>
                  <a:gd name="T9" fmla="*/ 50 h 1739"/>
                  <a:gd name="T10" fmla="*/ 329 w 618"/>
                  <a:gd name="T11" fmla="*/ 2 h 1739"/>
                  <a:gd name="T12" fmla="*/ 357 w 618"/>
                  <a:gd name="T13" fmla="*/ 22 h 1739"/>
                  <a:gd name="T14" fmla="*/ 568 w 618"/>
                  <a:gd name="T15" fmla="*/ 1358 h 1739"/>
                  <a:gd name="T16" fmla="*/ 615 w 618"/>
                  <a:gd name="T17" fmla="*/ 1661 h 1739"/>
                  <a:gd name="T18" fmla="*/ 595 w 618"/>
                  <a:gd name="T19" fmla="*/ 1689 h 1739"/>
                  <a:gd name="T20" fmla="*/ 288 w 618"/>
                  <a:gd name="T21" fmla="*/ 1737 h 1739"/>
                  <a:gd name="T22" fmla="*/ 260 w 618"/>
                  <a:gd name="T23" fmla="*/ 1717 h 1739"/>
                  <a:gd name="T24" fmla="*/ 204 w 618"/>
                  <a:gd name="T25" fmla="*/ 1358 h 1739"/>
                  <a:gd name="T26" fmla="*/ 568 w 618"/>
                  <a:gd name="T27" fmla="*/ 1358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1739">
                    <a:moveTo>
                      <a:pt x="357" y="22"/>
                    </a:moveTo>
                    <a:lnTo>
                      <a:pt x="524" y="1080"/>
                    </a:lnTo>
                    <a:lnTo>
                      <a:pt x="160" y="1080"/>
                    </a:lnTo>
                    <a:lnTo>
                      <a:pt x="2" y="78"/>
                    </a:lnTo>
                    <a:cubicBezTo>
                      <a:pt x="0" y="65"/>
                      <a:pt x="9" y="52"/>
                      <a:pt x="22" y="50"/>
                    </a:cubicBezTo>
                    <a:lnTo>
                      <a:pt x="329" y="2"/>
                    </a:lnTo>
                    <a:cubicBezTo>
                      <a:pt x="343" y="0"/>
                      <a:pt x="355" y="9"/>
                      <a:pt x="357" y="22"/>
                    </a:cubicBezTo>
                    <a:close/>
                    <a:moveTo>
                      <a:pt x="568" y="1358"/>
                    </a:moveTo>
                    <a:lnTo>
                      <a:pt x="615" y="1661"/>
                    </a:lnTo>
                    <a:cubicBezTo>
                      <a:pt x="618" y="1674"/>
                      <a:pt x="608" y="1687"/>
                      <a:pt x="595" y="1689"/>
                    </a:cubicBezTo>
                    <a:lnTo>
                      <a:pt x="288" y="1737"/>
                    </a:lnTo>
                    <a:cubicBezTo>
                      <a:pt x="275" y="1739"/>
                      <a:pt x="262" y="1730"/>
                      <a:pt x="260" y="1717"/>
                    </a:cubicBezTo>
                    <a:lnTo>
                      <a:pt x="204" y="1358"/>
                    </a:lnTo>
                    <a:lnTo>
                      <a:pt x="568" y="1358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3" name="Freeform 27"/>
              <p:cNvSpPr>
                <a:spLocks noEditPoints="1"/>
              </p:cNvSpPr>
              <p:nvPr/>
            </p:nvSpPr>
            <p:spPr bwMode="auto">
              <a:xfrm>
                <a:off x="1525" y="877"/>
                <a:ext cx="86" cy="332"/>
              </a:xfrm>
              <a:custGeom>
                <a:avLst/>
                <a:gdLst>
                  <a:gd name="T0" fmla="*/ 181 w 442"/>
                  <a:gd name="T1" fmla="*/ 22 h 1713"/>
                  <a:gd name="T2" fmla="*/ 348 w 442"/>
                  <a:gd name="T3" fmla="*/ 1080 h 1713"/>
                  <a:gd name="T4" fmla="*/ 166 w 442"/>
                  <a:gd name="T5" fmla="*/ 1080 h 1713"/>
                  <a:gd name="T6" fmla="*/ 0 w 442"/>
                  <a:gd name="T7" fmla="*/ 26 h 1713"/>
                  <a:gd name="T8" fmla="*/ 153 w 442"/>
                  <a:gd name="T9" fmla="*/ 2 h 1713"/>
                  <a:gd name="T10" fmla="*/ 181 w 442"/>
                  <a:gd name="T11" fmla="*/ 22 h 1713"/>
                  <a:gd name="T12" fmla="*/ 392 w 442"/>
                  <a:gd name="T13" fmla="*/ 1358 h 1713"/>
                  <a:gd name="T14" fmla="*/ 439 w 442"/>
                  <a:gd name="T15" fmla="*/ 1661 h 1713"/>
                  <a:gd name="T16" fmla="*/ 419 w 442"/>
                  <a:gd name="T17" fmla="*/ 1689 h 1713"/>
                  <a:gd name="T18" fmla="*/ 266 w 442"/>
                  <a:gd name="T19" fmla="*/ 1713 h 1713"/>
                  <a:gd name="T20" fmla="*/ 210 w 442"/>
                  <a:gd name="T21" fmla="*/ 1358 h 1713"/>
                  <a:gd name="T22" fmla="*/ 392 w 442"/>
                  <a:gd name="T23" fmla="*/ 1358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2" h="1713">
                    <a:moveTo>
                      <a:pt x="181" y="22"/>
                    </a:moveTo>
                    <a:lnTo>
                      <a:pt x="348" y="1080"/>
                    </a:lnTo>
                    <a:lnTo>
                      <a:pt x="166" y="1080"/>
                    </a:lnTo>
                    <a:lnTo>
                      <a:pt x="0" y="26"/>
                    </a:lnTo>
                    <a:lnTo>
                      <a:pt x="153" y="2"/>
                    </a:lnTo>
                    <a:cubicBezTo>
                      <a:pt x="167" y="0"/>
                      <a:pt x="179" y="9"/>
                      <a:pt x="181" y="22"/>
                    </a:cubicBezTo>
                    <a:close/>
                    <a:moveTo>
                      <a:pt x="392" y="1358"/>
                    </a:moveTo>
                    <a:lnTo>
                      <a:pt x="439" y="1661"/>
                    </a:lnTo>
                    <a:cubicBezTo>
                      <a:pt x="442" y="1674"/>
                      <a:pt x="432" y="1687"/>
                      <a:pt x="419" y="1689"/>
                    </a:cubicBezTo>
                    <a:lnTo>
                      <a:pt x="266" y="1713"/>
                    </a:lnTo>
                    <a:lnTo>
                      <a:pt x="210" y="1358"/>
                    </a:lnTo>
                    <a:lnTo>
                      <a:pt x="392" y="1358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4" name="Freeform 28"/>
              <p:cNvSpPr>
                <a:spLocks/>
              </p:cNvSpPr>
              <p:nvPr/>
            </p:nvSpPr>
            <p:spPr bwMode="auto">
              <a:xfrm>
                <a:off x="1537" y="1150"/>
                <a:ext cx="65" cy="37"/>
              </a:xfrm>
              <a:custGeom>
                <a:avLst/>
                <a:gdLst>
                  <a:gd name="T0" fmla="*/ 312 w 334"/>
                  <a:gd name="T1" fmla="*/ 0 h 191"/>
                  <a:gd name="T2" fmla="*/ 334 w 334"/>
                  <a:gd name="T3" fmla="*/ 142 h 191"/>
                  <a:gd name="T4" fmla="*/ 22 w 334"/>
                  <a:gd name="T5" fmla="*/ 191 h 191"/>
                  <a:gd name="T6" fmla="*/ 0 w 334"/>
                  <a:gd name="T7" fmla="*/ 49 h 191"/>
                  <a:gd name="T8" fmla="*/ 312 w 334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191">
                    <a:moveTo>
                      <a:pt x="312" y="0"/>
                    </a:moveTo>
                    <a:lnTo>
                      <a:pt x="334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5" name="Freeform 29"/>
              <p:cNvSpPr>
                <a:spLocks/>
              </p:cNvSpPr>
              <p:nvPr/>
            </p:nvSpPr>
            <p:spPr bwMode="auto">
              <a:xfrm>
                <a:off x="1500" y="910"/>
                <a:ext cx="65" cy="37"/>
              </a:xfrm>
              <a:custGeom>
                <a:avLst/>
                <a:gdLst>
                  <a:gd name="T0" fmla="*/ 312 w 335"/>
                  <a:gd name="T1" fmla="*/ 0 h 191"/>
                  <a:gd name="T2" fmla="*/ 335 w 335"/>
                  <a:gd name="T3" fmla="*/ 142 h 191"/>
                  <a:gd name="T4" fmla="*/ 22 w 335"/>
                  <a:gd name="T5" fmla="*/ 191 h 191"/>
                  <a:gd name="T6" fmla="*/ 0 w 335"/>
                  <a:gd name="T7" fmla="*/ 49 h 191"/>
                  <a:gd name="T8" fmla="*/ 312 w 335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91">
                    <a:moveTo>
                      <a:pt x="312" y="0"/>
                    </a:moveTo>
                    <a:lnTo>
                      <a:pt x="335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6" name="Freeform 30"/>
              <p:cNvSpPr>
                <a:spLocks/>
              </p:cNvSpPr>
              <p:nvPr/>
            </p:nvSpPr>
            <p:spPr bwMode="auto">
              <a:xfrm>
                <a:off x="1536" y="1141"/>
                <a:ext cx="61" cy="15"/>
              </a:xfrm>
              <a:custGeom>
                <a:avLst/>
                <a:gdLst>
                  <a:gd name="T0" fmla="*/ 313 w 317"/>
                  <a:gd name="T1" fmla="*/ 0 h 78"/>
                  <a:gd name="T2" fmla="*/ 317 w 317"/>
                  <a:gd name="T3" fmla="*/ 29 h 78"/>
                  <a:gd name="T4" fmla="*/ 5 w 317"/>
                  <a:gd name="T5" fmla="*/ 78 h 78"/>
                  <a:gd name="T6" fmla="*/ 0 w 317"/>
                  <a:gd name="T7" fmla="*/ 44 h 78"/>
                  <a:gd name="T8" fmla="*/ 274 w 317"/>
                  <a:gd name="T9" fmla="*/ 0 h 78"/>
                  <a:gd name="T10" fmla="*/ 313 w 317"/>
                  <a:gd name="T1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78">
                    <a:moveTo>
                      <a:pt x="313" y="0"/>
                    </a:moveTo>
                    <a:lnTo>
                      <a:pt x="317" y="29"/>
                    </a:lnTo>
                    <a:lnTo>
                      <a:pt x="5" y="78"/>
                    </a:lnTo>
                    <a:lnTo>
                      <a:pt x="0" y="44"/>
                    </a:lnTo>
                    <a:lnTo>
                      <a:pt x="274" y="0"/>
                    </a:lnTo>
                    <a:lnTo>
                      <a:pt x="313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7" name="Freeform 31"/>
              <p:cNvSpPr>
                <a:spLocks/>
              </p:cNvSpPr>
              <p:nvPr/>
            </p:nvSpPr>
            <p:spPr bwMode="auto">
              <a:xfrm>
                <a:off x="1498" y="900"/>
                <a:ext cx="62" cy="16"/>
              </a:xfrm>
              <a:custGeom>
                <a:avLst/>
                <a:gdLst>
                  <a:gd name="T0" fmla="*/ 312 w 317"/>
                  <a:gd name="T1" fmla="*/ 0 h 84"/>
                  <a:gd name="T2" fmla="*/ 317 w 317"/>
                  <a:gd name="T3" fmla="*/ 35 h 84"/>
                  <a:gd name="T4" fmla="*/ 5 w 317"/>
                  <a:gd name="T5" fmla="*/ 84 h 84"/>
                  <a:gd name="T6" fmla="*/ 0 w 317"/>
                  <a:gd name="T7" fmla="*/ 49 h 84"/>
                  <a:gd name="T8" fmla="*/ 312 w 317"/>
                  <a:gd name="T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84">
                    <a:moveTo>
                      <a:pt x="312" y="0"/>
                    </a:moveTo>
                    <a:lnTo>
                      <a:pt x="317" y="35"/>
                    </a:lnTo>
                    <a:lnTo>
                      <a:pt x="5" y="84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8" name="Freeform 32"/>
              <p:cNvSpPr>
                <a:spLocks/>
              </p:cNvSpPr>
              <p:nvPr/>
            </p:nvSpPr>
            <p:spPr bwMode="auto">
              <a:xfrm>
                <a:off x="1568" y="1150"/>
                <a:ext cx="34" cy="32"/>
              </a:xfrm>
              <a:custGeom>
                <a:avLst/>
                <a:gdLst>
                  <a:gd name="T0" fmla="*/ 156 w 178"/>
                  <a:gd name="T1" fmla="*/ 0 h 166"/>
                  <a:gd name="T2" fmla="*/ 178 w 178"/>
                  <a:gd name="T3" fmla="*/ 142 h 166"/>
                  <a:gd name="T4" fmla="*/ 22 w 178"/>
                  <a:gd name="T5" fmla="*/ 166 h 166"/>
                  <a:gd name="T6" fmla="*/ 0 w 178"/>
                  <a:gd name="T7" fmla="*/ 25 h 166"/>
                  <a:gd name="T8" fmla="*/ 156 w 178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66">
                    <a:moveTo>
                      <a:pt x="156" y="0"/>
                    </a:moveTo>
                    <a:lnTo>
                      <a:pt x="178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9" name="Freeform 33"/>
              <p:cNvSpPr>
                <a:spLocks/>
              </p:cNvSpPr>
              <p:nvPr/>
            </p:nvSpPr>
            <p:spPr bwMode="auto">
              <a:xfrm>
                <a:off x="1530" y="910"/>
                <a:ext cx="35" cy="32"/>
              </a:xfrm>
              <a:custGeom>
                <a:avLst/>
                <a:gdLst>
                  <a:gd name="T0" fmla="*/ 156 w 179"/>
                  <a:gd name="T1" fmla="*/ 0 h 166"/>
                  <a:gd name="T2" fmla="*/ 179 w 179"/>
                  <a:gd name="T3" fmla="*/ 142 h 166"/>
                  <a:gd name="T4" fmla="*/ 22 w 179"/>
                  <a:gd name="T5" fmla="*/ 166 h 166"/>
                  <a:gd name="T6" fmla="*/ 0 w 179"/>
                  <a:gd name="T7" fmla="*/ 25 h 166"/>
                  <a:gd name="T8" fmla="*/ 156 w 179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66">
                    <a:moveTo>
                      <a:pt x="156" y="0"/>
                    </a:moveTo>
                    <a:lnTo>
                      <a:pt x="179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0" name="Freeform 34"/>
              <p:cNvSpPr>
                <a:spLocks/>
              </p:cNvSpPr>
              <p:nvPr/>
            </p:nvSpPr>
            <p:spPr bwMode="auto">
              <a:xfrm>
                <a:off x="1566" y="1141"/>
                <a:ext cx="31" cy="10"/>
              </a:xfrm>
              <a:custGeom>
                <a:avLst/>
                <a:gdLst>
                  <a:gd name="T0" fmla="*/ 157 w 161"/>
                  <a:gd name="T1" fmla="*/ 0 h 53"/>
                  <a:gd name="T2" fmla="*/ 161 w 161"/>
                  <a:gd name="T3" fmla="*/ 29 h 53"/>
                  <a:gd name="T4" fmla="*/ 5 w 161"/>
                  <a:gd name="T5" fmla="*/ 53 h 53"/>
                  <a:gd name="T6" fmla="*/ 0 w 161"/>
                  <a:gd name="T7" fmla="*/ 19 h 53"/>
                  <a:gd name="T8" fmla="*/ 118 w 161"/>
                  <a:gd name="T9" fmla="*/ 0 h 53"/>
                  <a:gd name="T10" fmla="*/ 157 w 161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53">
                    <a:moveTo>
                      <a:pt x="157" y="0"/>
                    </a:moveTo>
                    <a:lnTo>
                      <a:pt x="161" y="29"/>
                    </a:lnTo>
                    <a:lnTo>
                      <a:pt x="5" y="53"/>
                    </a:lnTo>
                    <a:lnTo>
                      <a:pt x="0" y="19"/>
                    </a:lnTo>
                    <a:lnTo>
                      <a:pt x="118" y="0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1" name="Freeform 35"/>
              <p:cNvSpPr>
                <a:spLocks/>
              </p:cNvSpPr>
              <p:nvPr/>
            </p:nvSpPr>
            <p:spPr bwMode="auto">
              <a:xfrm>
                <a:off x="1528" y="900"/>
                <a:ext cx="32" cy="11"/>
              </a:xfrm>
              <a:custGeom>
                <a:avLst/>
                <a:gdLst>
                  <a:gd name="T0" fmla="*/ 156 w 161"/>
                  <a:gd name="T1" fmla="*/ 0 h 59"/>
                  <a:gd name="T2" fmla="*/ 161 w 161"/>
                  <a:gd name="T3" fmla="*/ 35 h 59"/>
                  <a:gd name="T4" fmla="*/ 5 w 161"/>
                  <a:gd name="T5" fmla="*/ 59 h 59"/>
                  <a:gd name="T6" fmla="*/ 0 w 161"/>
                  <a:gd name="T7" fmla="*/ 25 h 59"/>
                  <a:gd name="T8" fmla="*/ 156 w 161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59">
                    <a:moveTo>
                      <a:pt x="156" y="0"/>
                    </a:moveTo>
                    <a:lnTo>
                      <a:pt x="161" y="35"/>
                    </a:lnTo>
                    <a:lnTo>
                      <a:pt x="5" y="59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2" name="Freeform 36"/>
              <p:cNvSpPr>
                <a:spLocks/>
              </p:cNvSpPr>
              <p:nvPr/>
            </p:nvSpPr>
            <p:spPr bwMode="auto">
              <a:xfrm>
                <a:off x="989" y="631"/>
                <a:ext cx="107" cy="4"/>
              </a:xfrm>
              <a:custGeom>
                <a:avLst/>
                <a:gdLst>
                  <a:gd name="T0" fmla="*/ 552 w 552"/>
                  <a:gd name="T1" fmla="*/ 0 h 24"/>
                  <a:gd name="T2" fmla="*/ 0 w 552"/>
                  <a:gd name="T3" fmla="*/ 0 h 24"/>
                  <a:gd name="T4" fmla="*/ 9 w 552"/>
                  <a:gd name="T5" fmla="*/ 24 h 24"/>
                  <a:gd name="T6" fmla="*/ 552 w 552"/>
                  <a:gd name="T7" fmla="*/ 24 h 24"/>
                  <a:gd name="T8" fmla="*/ 552 w 55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24">
                    <a:moveTo>
                      <a:pt x="552" y="0"/>
                    </a:moveTo>
                    <a:lnTo>
                      <a:pt x="0" y="0"/>
                    </a:lnTo>
                    <a:cubicBezTo>
                      <a:pt x="3" y="7"/>
                      <a:pt x="6" y="15"/>
                      <a:pt x="9" y="24"/>
                    </a:cubicBezTo>
                    <a:lnTo>
                      <a:pt x="552" y="24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3" name="Freeform 37"/>
              <p:cNvSpPr>
                <a:spLocks/>
              </p:cNvSpPr>
              <p:nvPr/>
            </p:nvSpPr>
            <p:spPr bwMode="auto">
              <a:xfrm>
                <a:off x="992" y="640"/>
                <a:ext cx="104" cy="4"/>
              </a:xfrm>
              <a:custGeom>
                <a:avLst/>
                <a:gdLst>
                  <a:gd name="T0" fmla="*/ 537 w 537"/>
                  <a:gd name="T1" fmla="*/ 0 h 23"/>
                  <a:gd name="T2" fmla="*/ 0 w 537"/>
                  <a:gd name="T3" fmla="*/ 0 h 23"/>
                  <a:gd name="T4" fmla="*/ 4 w 537"/>
                  <a:gd name="T5" fmla="*/ 23 h 23"/>
                  <a:gd name="T6" fmla="*/ 537 w 537"/>
                  <a:gd name="T7" fmla="*/ 23 h 23"/>
                  <a:gd name="T8" fmla="*/ 537 w 537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23">
                    <a:moveTo>
                      <a:pt x="537" y="0"/>
                    </a:moveTo>
                    <a:lnTo>
                      <a:pt x="0" y="0"/>
                    </a:lnTo>
                    <a:cubicBezTo>
                      <a:pt x="2" y="7"/>
                      <a:pt x="3" y="15"/>
                      <a:pt x="4" y="23"/>
                    </a:cubicBezTo>
                    <a:lnTo>
                      <a:pt x="537" y="23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4" name="Freeform 38"/>
              <p:cNvSpPr>
                <a:spLocks/>
              </p:cNvSpPr>
              <p:nvPr/>
            </p:nvSpPr>
            <p:spPr bwMode="auto">
              <a:xfrm>
                <a:off x="993" y="649"/>
                <a:ext cx="103" cy="4"/>
              </a:xfrm>
              <a:custGeom>
                <a:avLst/>
                <a:gdLst>
                  <a:gd name="T0" fmla="*/ 530 w 530"/>
                  <a:gd name="T1" fmla="*/ 0 h 23"/>
                  <a:gd name="T2" fmla="*/ 0 w 530"/>
                  <a:gd name="T3" fmla="*/ 0 h 23"/>
                  <a:gd name="T4" fmla="*/ 2 w 530"/>
                  <a:gd name="T5" fmla="*/ 23 h 23"/>
                  <a:gd name="T6" fmla="*/ 530 w 530"/>
                  <a:gd name="T7" fmla="*/ 23 h 23"/>
                  <a:gd name="T8" fmla="*/ 530 w 530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23">
                    <a:moveTo>
                      <a:pt x="530" y="0"/>
                    </a:moveTo>
                    <a:lnTo>
                      <a:pt x="0" y="0"/>
                    </a:lnTo>
                    <a:cubicBezTo>
                      <a:pt x="1" y="7"/>
                      <a:pt x="1" y="15"/>
                      <a:pt x="2" y="23"/>
                    </a:cubicBezTo>
                    <a:lnTo>
                      <a:pt x="530" y="23"/>
                    </a:lnTo>
                    <a:lnTo>
                      <a:pt x="530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5" name="Freeform 39"/>
              <p:cNvSpPr>
                <a:spLocks/>
              </p:cNvSpPr>
              <p:nvPr/>
            </p:nvSpPr>
            <p:spPr bwMode="auto">
              <a:xfrm>
                <a:off x="993" y="658"/>
                <a:ext cx="103" cy="5"/>
              </a:xfrm>
              <a:custGeom>
                <a:avLst/>
                <a:gdLst>
                  <a:gd name="T0" fmla="*/ 528 w 528"/>
                  <a:gd name="T1" fmla="*/ 0 h 24"/>
                  <a:gd name="T2" fmla="*/ 1 w 528"/>
                  <a:gd name="T3" fmla="*/ 0 h 24"/>
                  <a:gd name="T4" fmla="*/ 1 w 528"/>
                  <a:gd name="T5" fmla="*/ 8 h 24"/>
                  <a:gd name="T6" fmla="*/ 0 w 528"/>
                  <a:gd name="T7" fmla="*/ 24 h 24"/>
                  <a:gd name="T8" fmla="*/ 528 w 528"/>
                  <a:gd name="T9" fmla="*/ 24 h 24"/>
                  <a:gd name="T10" fmla="*/ 528 w 52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8" h="24">
                    <a:moveTo>
                      <a:pt x="528" y="0"/>
                    </a:moveTo>
                    <a:lnTo>
                      <a:pt x="1" y="0"/>
                    </a:lnTo>
                    <a:cubicBezTo>
                      <a:pt x="1" y="3"/>
                      <a:pt x="1" y="6"/>
                      <a:pt x="1" y="8"/>
                    </a:cubicBezTo>
                    <a:cubicBezTo>
                      <a:pt x="1" y="13"/>
                      <a:pt x="1" y="19"/>
                      <a:pt x="0" y="24"/>
                    </a:cubicBezTo>
                    <a:lnTo>
                      <a:pt x="528" y="24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6" name="Freeform 40"/>
              <p:cNvSpPr>
                <a:spLocks/>
              </p:cNvSpPr>
              <p:nvPr/>
            </p:nvSpPr>
            <p:spPr bwMode="auto">
              <a:xfrm>
                <a:off x="993" y="667"/>
                <a:ext cx="103" cy="4"/>
              </a:xfrm>
              <a:custGeom>
                <a:avLst/>
                <a:gdLst>
                  <a:gd name="T0" fmla="*/ 531 w 531"/>
                  <a:gd name="T1" fmla="*/ 0 h 23"/>
                  <a:gd name="T2" fmla="*/ 2 w 531"/>
                  <a:gd name="T3" fmla="*/ 0 h 23"/>
                  <a:gd name="T4" fmla="*/ 0 w 531"/>
                  <a:gd name="T5" fmla="*/ 23 h 23"/>
                  <a:gd name="T6" fmla="*/ 531 w 531"/>
                  <a:gd name="T7" fmla="*/ 23 h 23"/>
                  <a:gd name="T8" fmla="*/ 531 w 53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1" h="23">
                    <a:moveTo>
                      <a:pt x="531" y="0"/>
                    </a:moveTo>
                    <a:lnTo>
                      <a:pt x="2" y="0"/>
                    </a:lnTo>
                    <a:cubicBezTo>
                      <a:pt x="2" y="8"/>
                      <a:pt x="1" y="16"/>
                      <a:pt x="0" y="23"/>
                    </a:cubicBezTo>
                    <a:lnTo>
                      <a:pt x="531" y="23"/>
                    </a:lnTo>
                    <a:lnTo>
                      <a:pt x="531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7" name="Freeform 41"/>
              <p:cNvSpPr>
                <a:spLocks/>
              </p:cNvSpPr>
              <p:nvPr/>
            </p:nvSpPr>
            <p:spPr bwMode="auto">
              <a:xfrm>
                <a:off x="991" y="676"/>
                <a:ext cx="105" cy="5"/>
              </a:xfrm>
              <a:custGeom>
                <a:avLst/>
                <a:gdLst>
                  <a:gd name="T0" fmla="*/ 539 w 539"/>
                  <a:gd name="T1" fmla="*/ 0 h 23"/>
                  <a:gd name="T2" fmla="*/ 5 w 539"/>
                  <a:gd name="T3" fmla="*/ 0 h 23"/>
                  <a:gd name="T4" fmla="*/ 0 w 539"/>
                  <a:gd name="T5" fmla="*/ 23 h 23"/>
                  <a:gd name="T6" fmla="*/ 539 w 539"/>
                  <a:gd name="T7" fmla="*/ 23 h 23"/>
                  <a:gd name="T8" fmla="*/ 539 w 53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9" h="23">
                    <a:moveTo>
                      <a:pt x="539" y="0"/>
                    </a:moveTo>
                    <a:lnTo>
                      <a:pt x="5" y="0"/>
                    </a:lnTo>
                    <a:cubicBezTo>
                      <a:pt x="4" y="8"/>
                      <a:pt x="2" y="16"/>
                      <a:pt x="0" y="23"/>
                    </a:cubicBezTo>
                    <a:lnTo>
                      <a:pt x="539" y="23"/>
                    </a:lnTo>
                    <a:lnTo>
                      <a:pt x="539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8" name="Freeform 42"/>
              <p:cNvSpPr>
                <a:spLocks/>
              </p:cNvSpPr>
              <p:nvPr/>
            </p:nvSpPr>
            <p:spPr bwMode="auto">
              <a:xfrm>
                <a:off x="991" y="635"/>
                <a:ext cx="105" cy="5"/>
              </a:xfrm>
              <a:custGeom>
                <a:avLst/>
                <a:gdLst>
                  <a:gd name="T0" fmla="*/ 543 w 543"/>
                  <a:gd name="T1" fmla="*/ 0 h 23"/>
                  <a:gd name="T2" fmla="*/ 0 w 543"/>
                  <a:gd name="T3" fmla="*/ 0 h 23"/>
                  <a:gd name="T4" fmla="*/ 6 w 543"/>
                  <a:gd name="T5" fmla="*/ 23 h 23"/>
                  <a:gd name="T6" fmla="*/ 543 w 543"/>
                  <a:gd name="T7" fmla="*/ 23 h 23"/>
                  <a:gd name="T8" fmla="*/ 543 w 543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3">
                    <a:moveTo>
                      <a:pt x="543" y="0"/>
                    </a:moveTo>
                    <a:lnTo>
                      <a:pt x="0" y="0"/>
                    </a:lnTo>
                    <a:cubicBezTo>
                      <a:pt x="2" y="7"/>
                      <a:pt x="4" y="15"/>
                      <a:pt x="6" y="23"/>
                    </a:cubicBezTo>
                    <a:lnTo>
                      <a:pt x="543" y="23"/>
                    </a:lnTo>
                    <a:lnTo>
                      <a:pt x="54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9" name="Freeform 43"/>
              <p:cNvSpPr>
                <a:spLocks/>
              </p:cNvSpPr>
              <p:nvPr/>
            </p:nvSpPr>
            <p:spPr bwMode="auto">
              <a:xfrm>
                <a:off x="992" y="644"/>
                <a:ext cx="104" cy="5"/>
              </a:xfrm>
              <a:custGeom>
                <a:avLst/>
                <a:gdLst>
                  <a:gd name="T0" fmla="*/ 533 w 533"/>
                  <a:gd name="T1" fmla="*/ 0 h 24"/>
                  <a:gd name="T2" fmla="*/ 0 w 533"/>
                  <a:gd name="T3" fmla="*/ 0 h 24"/>
                  <a:gd name="T4" fmla="*/ 1 w 533"/>
                  <a:gd name="T5" fmla="*/ 7 h 24"/>
                  <a:gd name="T6" fmla="*/ 3 w 533"/>
                  <a:gd name="T7" fmla="*/ 24 h 24"/>
                  <a:gd name="T8" fmla="*/ 533 w 533"/>
                  <a:gd name="T9" fmla="*/ 24 h 24"/>
                  <a:gd name="T10" fmla="*/ 533 w 533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3" h="24">
                    <a:moveTo>
                      <a:pt x="533" y="0"/>
                    </a:moveTo>
                    <a:lnTo>
                      <a:pt x="0" y="0"/>
                    </a:lnTo>
                    <a:cubicBezTo>
                      <a:pt x="1" y="2"/>
                      <a:pt x="1" y="5"/>
                      <a:pt x="1" y="7"/>
                    </a:cubicBezTo>
                    <a:cubicBezTo>
                      <a:pt x="2" y="12"/>
                      <a:pt x="3" y="18"/>
                      <a:pt x="3" y="24"/>
                    </a:cubicBezTo>
                    <a:lnTo>
                      <a:pt x="533" y="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0" name="Freeform 44"/>
              <p:cNvSpPr>
                <a:spLocks/>
              </p:cNvSpPr>
              <p:nvPr/>
            </p:nvSpPr>
            <p:spPr bwMode="auto">
              <a:xfrm>
                <a:off x="993" y="653"/>
                <a:ext cx="103" cy="5"/>
              </a:xfrm>
              <a:custGeom>
                <a:avLst/>
                <a:gdLst>
                  <a:gd name="T0" fmla="*/ 528 w 528"/>
                  <a:gd name="T1" fmla="*/ 0 h 23"/>
                  <a:gd name="T2" fmla="*/ 0 w 528"/>
                  <a:gd name="T3" fmla="*/ 0 h 23"/>
                  <a:gd name="T4" fmla="*/ 1 w 528"/>
                  <a:gd name="T5" fmla="*/ 23 h 23"/>
                  <a:gd name="T6" fmla="*/ 528 w 528"/>
                  <a:gd name="T7" fmla="*/ 23 h 23"/>
                  <a:gd name="T8" fmla="*/ 528 w 528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8" h="23">
                    <a:moveTo>
                      <a:pt x="528" y="0"/>
                    </a:moveTo>
                    <a:lnTo>
                      <a:pt x="0" y="0"/>
                    </a:lnTo>
                    <a:cubicBezTo>
                      <a:pt x="0" y="8"/>
                      <a:pt x="0" y="16"/>
                      <a:pt x="1" y="23"/>
                    </a:cubicBezTo>
                    <a:lnTo>
                      <a:pt x="528" y="23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1" name="Freeform 45"/>
              <p:cNvSpPr>
                <a:spLocks/>
              </p:cNvSpPr>
              <p:nvPr/>
            </p:nvSpPr>
            <p:spPr bwMode="auto">
              <a:xfrm>
                <a:off x="993" y="663"/>
                <a:ext cx="103" cy="4"/>
              </a:xfrm>
              <a:custGeom>
                <a:avLst/>
                <a:gdLst>
                  <a:gd name="T0" fmla="*/ 529 w 529"/>
                  <a:gd name="T1" fmla="*/ 0 h 23"/>
                  <a:gd name="T2" fmla="*/ 1 w 529"/>
                  <a:gd name="T3" fmla="*/ 0 h 23"/>
                  <a:gd name="T4" fmla="*/ 0 w 529"/>
                  <a:gd name="T5" fmla="*/ 23 h 23"/>
                  <a:gd name="T6" fmla="*/ 529 w 529"/>
                  <a:gd name="T7" fmla="*/ 23 h 23"/>
                  <a:gd name="T8" fmla="*/ 529 w 52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9" h="23">
                    <a:moveTo>
                      <a:pt x="529" y="0"/>
                    </a:moveTo>
                    <a:lnTo>
                      <a:pt x="1" y="0"/>
                    </a:lnTo>
                    <a:cubicBezTo>
                      <a:pt x="1" y="8"/>
                      <a:pt x="1" y="15"/>
                      <a:pt x="0" y="23"/>
                    </a:cubicBezTo>
                    <a:lnTo>
                      <a:pt x="529" y="23"/>
                    </a:lnTo>
                    <a:lnTo>
                      <a:pt x="529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2" name="Freeform 46"/>
              <p:cNvSpPr>
                <a:spLocks/>
              </p:cNvSpPr>
              <p:nvPr/>
            </p:nvSpPr>
            <p:spPr bwMode="auto">
              <a:xfrm>
                <a:off x="992" y="671"/>
                <a:ext cx="104" cy="5"/>
              </a:xfrm>
              <a:custGeom>
                <a:avLst/>
                <a:gdLst>
                  <a:gd name="T0" fmla="*/ 534 w 534"/>
                  <a:gd name="T1" fmla="*/ 0 h 24"/>
                  <a:gd name="T2" fmla="*/ 3 w 534"/>
                  <a:gd name="T3" fmla="*/ 0 h 24"/>
                  <a:gd name="T4" fmla="*/ 2 w 534"/>
                  <a:gd name="T5" fmla="*/ 10 h 24"/>
                  <a:gd name="T6" fmla="*/ 0 w 534"/>
                  <a:gd name="T7" fmla="*/ 24 h 24"/>
                  <a:gd name="T8" fmla="*/ 534 w 534"/>
                  <a:gd name="T9" fmla="*/ 24 h 24"/>
                  <a:gd name="T10" fmla="*/ 534 w 53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24">
                    <a:moveTo>
                      <a:pt x="534" y="0"/>
                    </a:moveTo>
                    <a:lnTo>
                      <a:pt x="3" y="0"/>
                    </a:lnTo>
                    <a:cubicBezTo>
                      <a:pt x="3" y="4"/>
                      <a:pt x="3" y="7"/>
                      <a:pt x="2" y="10"/>
                    </a:cubicBezTo>
                    <a:cubicBezTo>
                      <a:pt x="2" y="14"/>
                      <a:pt x="1" y="19"/>
                      <a:pt x="0" y="24"/>
                    </a:cubicBezTo>
                    <a:lnTo>
                      <a:pt x="534" y="24"/>
                    </a:lnTo>
                    <a:lnTo>
                      <a:pt x="534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3" name="Freeform 47"/>
              <p:cNvSpPr>
                <a:spLocks/>
              </p:cNvSpPr>
              <p:nvPr/>
            </p:nvSpPr>
            <p:spPr bwMode="auto">
              <a:xfrm>
                <a:off x="990" y="681"/>
                <a:ext cx="106" cy="4"/>
              </a:xfrm>
              <a:custGeom>
                <a:avLst/>
                <a:gdLst>
                  <a:gd name="T0" fmla="*/ 546 w 546"/>
                  <a:gd name="T1" fmla="*/ 0 h 24"/>
                  <a:gd name="T2" fmla="*/ 7 w 546"/>
                  <a:gd name="T3" fmla="*/ 0 h 24"/>
                  <a:gd name="T4" fmla="*/ 0 w 546"/>
                  <a:gd name="T5" fmla="*/ 24 h 24"/>
                  <a:gd name="T6" fmla="*/ 546 w 546"/>
                  <a:gd name="T7" fmla="*/ 24 h 24"/>
                  <a:gd name="T8" fmla="*/ 546 w 54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24">
                    <a:moveTo>
                      <a:pt x="546" y="0"/>
                    </a:moveTo>
                    <a:lnTo>
                      <a:pt x="7" y="0"/>
                    </a:lnTo>
                    <a:cubicBezTo>
                      <a:pt x="5" y="8"/>
                      <a:pt x="3" y="16"/>
                      <a:pt x="0" y="24"/>
                    </a:cubicBezTo>
                    <a:lnTo>
                      <a:pt x="546" y="24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4" name="Freeform 48"/>
              <p:cNvSpPr>
                <a:spLocks/>
              </p:cNvSpPr>
              <p:nvPr/>
            </p:nvSpPr>
            <p:spPr bwMode="auto">
              <a:xfrm>
                <a:off x="989" y="685"/>
                <a:ext cx="107" cy="3"/>
              </a:xfrm>
              <a:custGeom>
                <a:avLst/>
                <a:gdLst>
                  <a:gd name="T0" fmla="*/ 552 w 552"/>
                  <a:gd name="T1" fmla="*/ 0 h 15"/>
                  <a:gd name="T2" fmla="*/ 6 w 552"/>
                  <a:gd name="T3" fmla="*/ 0 h 15"/>
                  <a:gd name="T4" fmla="*/ 0 w 552"/>
                  <a:gd name="T5" fmla="*/ 15 h 15"/>
                  <a:gd name="T6" fmla="*/ 552 w 552"/>
                  <a:gd name="T7" fmla="*/ 15 h 15"/>
                  <a:gd name="T8" fmla="*/ 552 w 55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15">
                    <a:moveTo>
                      <a:pt x="552" y="0"/>
                    </a:moveTo>
                    <a:lnTo>
                      <a:pt x="6" y="0"/>
                    </a:lnTo>
                    <a:cubicBezTo>
                      <a:pt x="4" y="5"/>
                      <a:pt x="2" y="10"/>
                      <a:pt x="0" y="15"/>
                    </a:cubicBezTo>
                    <a:lnTo>
                      <a:pt x="552" y="15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5" name="Rectangle 49"/>
              <p:cNvSpPr>
                <a:spLocks noChangeArrowheads="1"/>
              </p:cNvSpPr>
              <p:nvPr/>
            </p:nvSpPr>
            <p:spPr bwMode="auto">
              <a:xfrm>
                <a:off x="1096" y="631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6" name="Rectangle 50"/>
              <p:cNvSpPr>
                <a:spLocks noChangeArrowheads="1"/>
              </p:cNvSpPr>
              <p:nvPr/>
            </p:nvSpPr>
            <p:spPr bwMode="auto">
              <a:xfrm>
                <a:off x="1096" y="640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7" name="Rectangle 51"/>
              <p:cNvSpPr>
                <a:spLocks noChangeArrowheads="1"/>
              </p:cNvSpPr>
              <p:nvPr/>
            </p:nvSpPr>
            <p:spPr bwMode="auto">
              <a:xfrm>
                <a:off x="1096" y="649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8" name="Rectangle 52"/>
              <p:cNvSpPr>
                <a:spLocks noChangeArrowheads="1"/>
              </p:cNvSpPr>
              <p:nvPr/>
            </p:nvSpPr>
            <p:spPr bwMode="auto">
              <a:xfrm>
                <a:off x="1096" y="658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9" name="Rectangle 53"/>
              <p:cNvSpPr>
                <a:spLocks noChangeArrowheads="1"/>
              </p:cNvSpPr>
              <p:nvPr/>
            </p:nvSpPr>
            <p:spPr bwMode="auto">
              <a:xfrm>
                <a:off x="1096" y="667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0" name="Rectangle 54"/>
              <p:cNvSpPr>
                <a:spLocks noChangeArrowheads="1"/>
              </p:cNvSpPr>
              <p:nvPr/>
            </p:nvSpPr>
            <p:spPr bwMode="auto">
              <a:xfrm>
                <a:off x="1096" y="676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1" name="Rectangle 55"/>
              <p:cNvSpPr>
                <a:spLocks noChangeArrowheads="1"/>
              </p:cNvSpPr>
              <p:nvPr/>
            </p:nvSpPr>
            <p:spPr bwMode="auto">
              <a:xfrm>
                <a:off x="1096" y="635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2" name="Rectangle 56"/>
              <p:cNvSpPr>
                <a:spLocks noChangeArrowheads="1"/>
              </p:cNvSpPr>
              <p:nvPr/>
            </p:nvSpPr>
            <p:spPr bwMode="auto">
              <a:xfrm>
                <a:off x="1096" y="644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3" name="Rectangle 57"/>
              <p:cNvSpPr>
                <a:spLocks noChangeArrowheads="1"/>
              </p:cNvSpPr>
              <p:nvPr/>
            </p:nvSpPr>
            <p:spPr bwMode="auto">
              <a:xfrm>
                <a:off x="1096" y="653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4" name="Rectangle 58"/>
              <p:cNvSpPr>
                <a:spLocks noChangeArrowheads="1"/>
              </p:cNvSpPr>
              <p:nvPr/>
            </p:nvSpPr>
            <p:spPr bwMode="auto">
              <a:xfrm>
                <a:off x="1096" y="663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5" name="Rectangle 59"/>
              <p:cNvSpPr>
                <a:spLocks noChangeArrowheads="1"/>
              </p:cNvSpPr>
              <p:nvPr/>
            </p:nvSpPr>
            <p:spPr bwMode="auto">
              <a:xfrm>
                <a:off x="1096" y="671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6" name="Rectangle 60"/>
              <p:cNvSpPr>
                <a:spLocks noChangeArrowheads="1"/>
              </p:cNvSpPr>
              <p:nvPr/>
            </p:nvSpPr>
            <p:spPr bwMode="auto">
              <a:xfrm>
                <a:off x="1096" y="681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7" name="Rectangle 61"/>
              <p:cNvSpPr>
                <a:spLocks noChangeArrowheads="1"/>
              </p:cNvSpPr>
              <p:nvPr/>
            </p:nvSpPr>
            <p:spPr bwMode="auto">
              <a:xfrm>
                <a:off x="1096" y="685"/>
                <a:ext cx="110" cy="3"/>
              </a:xfrm>
              <a:prstGeom prst="rect">
                <a:avLst/>
              </a:pr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8" name="Rectangle 62"/>
              <p:cNvSpPr>
                <a:spLocks noChangeArrowheads="1"/>
              </p:cNvSpPr>
              <p:nvPr/>
            </p:nvSpPr>
            <p:spPr bwMode="auto">
              <a:xfrm>
                <a:off x="923" y="705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9" name="Rectangle 63"/>
              <p:cNvSpPr>
                <a:spLocks noChangeArrowheads="1"/>
              </p:cNvSpPr>
              <p:nvPr/>
            </p:nvSpPr>
            <p:spPr bwMode="auto">
              <a:xfrm>
                <a:off x="923" y="711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0" name="Rectangle 64"/>
              <p:cNvSpPr>
                <a:spLocks noChangeArrowheads="1"/>
              </p:cNvSpPr>
              <p:nvPr/>
            </p:nvSpPr>
            <p:spPr bwMode="auto">
              <a:xfrm>
                <a:off x="923" y="717"/>
                <a:ext cx="139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1" name="Rectangle 65"/>
              <p:cNvSpPr>
                <a:spLocks noChangeArrowheads="1"/>
              </p:cNvSpPr>
              <p:nvPr/>
            </p:nvSpPr>
            <p:spPr bwMode="auto">
              <a:xfrm>
                <a:off x="923" y="724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2" name="Rectangle 66"/>
              <p:cNvSpPr>
                <a:spLocks noChangeArrowheads="1"/>
              </p:cNvSpPr>
              <p:nvPr/>
            </p:nvSpPr>
            <p:spPr bwMode="auto">
              <a:xfrm>
                <a:off x="923" y="730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3" name="Rectangle 67"/>
              <p:cNvSpPr>
                <a:spLocks noChangeArrowheads="1"/>
              </p:cNvSpPr>
              <p:nvPr/>
            </p:nvSpPr>
            <p:spPr bwMode="auto">
              <a:xfrm>
                <a:off x="923" y="736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4" name="Rectangle 68"/>
              <p:cNvSpPr>
                <a:spLocks noChangeArrowheads="1"/>
              </p:cNvSpPr>
              <p:nvPr/>
            </p:nvSpPr>
            <p:spPr bwMode="auto">
              <a:xfrm>
                <a:off x="923" y="708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5" name="Rectangle 69"/>
              <p:cNvSpPr>
                <a:spLocks noChangeArrowheads="1"/>
              </p:cNvSpPr>
              <p:nvPr/>
            </p:nvSpPr>
            <p:spPr bwMode="auto">
              <a:xfrm>
                <a:off x="923" y="714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6" name="Rectangle 70"/>
              <p:cNvSpPr>
                <a:spLocks noChangeArrowheads="1"/>
              </p:cNvSpPr>
              <p:nvPr/>
            </p:nvSpPr>
            <p:spPr bwMode="auto">
              <a:xfrm>
                <a:off x="923" y="721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7" name="Rectangle 71"/>
              <p:cNvSpPr>
                <a:spLocks noChangeArrowheads="1"/>
              </p:cNvSpPr>
              <p:nvPr/>
            </p:nvSpPr>
            <p:spPr bwMode="auto">
              <a:xfrm>
                <a:off x="923" y="727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8" name="Rectangle 72"/>
              <p:cNvSpPr>
                <a:spLocks noChangeArrowheads="1"/>
              </p:cNvSpPr>
              <p:nvPr/>
            </p:nvSpPr>
            <p:spPr bwMode="auto">
              <a:xfrm>
                <a:off x="923" y="733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9" name="Rectangle 73"/>
              <p:cNvSpPr>
                <a:spLocks noChangeArrowheads="1"/>
              </p:cNvSpPr>
              <p:nvPr/>
            </p:nvSpPr>
            <p:spPr bwMode="auto">
              <a:xfrm>
                <a:off x="923" y="739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0" name="Rectangle 74"/>
              <p:cNvSpPr>
                <a:spLocks noChangeArrowheads="1"/>
              </p:cNvSpPr>
              <p:nvPr/>
            </p:nvSpPr>
            <p:spPr bwMode="auto">
              <a:xfrm>
                <a:off x="923" y="742"/>
                <a:ext cx="139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1" name="Freeform 75"/>
              <p:cNvSpPr>
                <a:spLocks/>
              </p:cNvSpPr>
              <p:nvPr/>
            </p:nvSpPr>
            <p:spPr bwMode="auto">
              <a:xfrm>
                <a:off x="1062" y="705"/>
                <a:ext cx="139" cy="3"/>
              </a:xfrm>
              <a:custGeom>
                <a:avLst/>
                <a:gdLst>
                  <a:gd name="T0" fmla="*/ 0 w 715"/>
                  <a:gd name="T1" fmla="*/ 0 h 16"/>
                  <a:gd name="T2" fmla="*/ 715 w 715"/>
                  <a:gd name="T3" fmla="*/ 0 h 16"/>
                  <a:gd name="T4" fmla="*/ 710 w 715"/>
                  <a:gd name="T5" fmla="*/ 16 h 16"/>
                  <a:gd name="T6" fmla="*/ 0 w 715"/>
                  <a:gd name="T7" fmla="*/ 16 h 16"/>
                  <a:gd name="T8" fmla="*/ 0 w 7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6">
                    <a:moveTo>
                      <a:pt x="0" y="0"/>
                    </a:moveTo>
                    <a:lnTo>
                      <a:pt x="715" y="0"/>
                    </a:lnTo>
                    <a:cubicBezTo>
                      <a:pt x="713" y="5"/>
                      <a:pt x="712" y="11"/>
                      <a:pt x="710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2" name="Freeform 76"/>
              <p:cNvSpPr>
                <a:spLocks/>
              </p:cNvSpPr>
              <p:nvPr/>
            </p:nvSpPr>
            <p:spPr bwMode="auto">
              <a:xfrm>
                <a:off x="1062" y="711"/>
                <a:ext cx="138" cy="3"/>
              </a:xfrm>
              <a:custGeom>
                <a:avLst/>
                <a:gdLst>
                  <a:gd name="T0" fmla="*/ 0 w 707"/>
                  <a:gd name="T1" fmla="*/ 0 h 16"/>
                  <a:gd name="T2" fmla="*/ 707 w 707"/>
                  <a:gd name="T3" fmla="*/ 0 h 16"/>
                  <a:gd name="T4" fmla="*/ 704 w 707"/>
                  <a:gd name="T5" fmla="*/ 15 h 16"/>
                  <a:gd name="T6" fmla="*/ 704 w 707"/>
                  <a:gd name="T7" fmla="*/ 16 h 16"/>
                  <a:gd name="T8" fmla="*/ 0 w 707"/>
                  <a:gd name="T9" fmla="*/ 16 h 16"/>
                  <a:gd name="T10" fmla="*/ 0 w 707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7" h="16">
                    <a:moveTo>
                      <a:pt x="0" y="0"/>
                    </a:moveTo>
                    <a:lnTo>
                      <a:pt x="707" y="0"/>
                    </a:lnTo>
                    <a:cubicBezTo>
                      <a:pt x="706" y="5"/>
                      <a:pt x="705" y="10"/>
                      <a:pt x="704" y="15"/>
                    </a:cubicBezTo>
                    <a:lnTo>
                      <a:pt x="704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3" name="Freeform 77"/>
              <p:cNvSpPr>
                <a:spLocks/>
              </p:cNvSpPr>
              <p:nvPr/>
            </p:nvSpPr>
            <p:spPr bwMode="auto">
              <a:xfrm>
                <a:off x="1062" y="717"/>
                <a:ext cx="137" cy="4"/>
              </a:xfrm>
              <a:custGeom>
                <a:avLst/>
                <a:gdLst>
                  <a:gd name="T0" fmla="*/ 0 w 702"/>
                  <a:gd name="T1" fmla="*/ 0 h 16"/>
                  <a:gd name="T2" fmla="*/ 702 w 702"/>
                  <a:gd name="T3" fmla="*/ 0 h 16"/>
                  <a:gd name="T4" fmla="*/ 701 w 702"/>
                  <a:gd name="T5" fmla="*/ 16 h 16"/>
                  <a:gd name="T6" fmla="*/ 0 w 702"/>
                  <a:gd name="T7" fmla="*/ 16 h 16"/>
                  <a:gd name="T8" fmla="*/ 0 w 70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5"/>
                      <a:pt x="702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4" name="Freeform 78"/>
              <p:cNvSpPr>
                <a:spLocks/>
              </p:cNvSpPr>
              <p:nvPr/>
            </p:nvSpPr>
            <p:spPr bwMode="auto">
              <a:xfrm>
                <a:off x="1062" y="724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5 h 16"/>
                  <a:gd name="T6" fmla="*/ 701 w 701"/>
                  <a:gd name="T7" fmla="*/ 16 h 16"/>
                  <a:gd name="T8" fmla="*/ 0 w 701"/>
                  <a:gd name="T9" fmla="*/ 16 h 16"/>
                  <a:gd name="T10" fmla="*/ 0 w 701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lnTo>
                      <a:pt x="701" y="5"/>
                    </a:lnTo>
                    <a:cubicBezTo>
                      <a:pt x="701" y="9"/>
                      <a:pt x="701" y="12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5" name="Freeform 79"/>
              <p:cNvSpPr>
                <a:spLocks/>
              </p:cNvSpPr>
              <p:nvPr/>
            </p:nvSpPr>
            <p:spPr bwMode="auto">
              <a:xfrm>
                <a:off x="1062" y="730"/>
                <a:ext cx="137" cy="3"/>
              </a:xfrm>
              <a:custGeom>
                <a:avLst/>
                <a:gdLst>
                  <a:gd name="T0" fmla="*/ 0 w 703"/>
                  <a:gd name="T1" fmla="*/ 0 h 16"/>
                  <a:gd name="T2" fmla="*/ 702 w 703"/>
                  <a:gd name="T3" fmla="*/ 0 h 16"/>
                  <a:gd name="T4" fmla="*/ 703 w 703"/>
                  <a:gd name="T5" fmla="*/ 16 h 16"/>
                  <a:gd name="T6" fmla="*/ 0 w 703"/>
                  <a:gd name="T7" fmla="*/ 16 h 16"/>
                  <a:gd name="T8" fmla="*/ 0 w 703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6"/>
                      <a:pt x="702" y="11"/>
                      <a:pt x="703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6" name="Freeform 80"/>
              <p:cNvSpPr>
                <a:spLocks/>
              </p:cNvSpPr>
              <p:nvPr/>
            </p:nvSpPr>
            <p:spPr bwMode="auto">
              <a:xfrm>
                <a:off x="1062" y="736"/>
                <a:ext cx="138" cy="3"/>
              </a:xfrm>
              <a:custGeom>
                <a:avLst/>
                <a:gdLst>
                  <a:gd name="T0" fmla="*/ 0 w 708"/>
                  <a:gd name="T1" fmla="*/ 0 h 16"/>
                  <a:gd name="T2" fmla="*/ 705 w 708"/>
                  <a:gd name="T3" fmla="*/ 0 h 16"/>
                  <a:gd name="T4" fmla="*/ 708 w 708"/>
                  <a:gd name="T5" fmla="*/ 16 h 16"/>
                  <a:gd name="T6" fmla="*/ 0 w 708"/>
                  <a:gd name="T7" fmla="*/ 16 h 16"/>
                  <a:gd name="T8" fmla="*/ 0 w 70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6">
                    <a:moveTo>
                      <a:pt x="0" y="0"/>
                    </a:moveTo>
                    <a:lnTo>
                      <a:pt x="705" y="0"/>
                    </a:lnTo>
                    <a:cubicBezTo>
                      <a:pt x="706" y="6"/>
                      <a:pt x="707" y="11"/>
                      <a:pt x="708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7" name="Freeform 81"/>
              <p:cNvSpPr>
                <a:spLocks/>
              </p:cNvSpPr>
              <p:nvPr/>
            </p:nvSpPr>
            <p:spPr bwMode="auto">
              <a:xfrm>
                <a:off x="1062" y="708"/>
                <a:ext cx="138" cy="3"/>
              </a:xfrm>
              <a:custGeom>
                <a:avLst/>
                <a:gdLst>
                  <a:gd name="T0" fmla="*/ 0 w 710"/>
                  <a:gd name="T1" fmla="*/ 0 h 16"/>
                  <a:gd name="T2" fmla="*/ 710 w 710"/>
                  <a:gd name="T3" fmla="*/ 0 h 16"/>
                  <a:gd name="T4" fmla="*/ 707 w 710"/>
                  <a:gd name="T5" fmla="*/ 16 h 16"/>
                  <a:gd name="T6" fmla="*/ 0 w 710"/>
                  <a:gd name="T7" fmla="*/ 16 h 16"/>
                  <a:gd name="T8" fmla="*/ 0 w 71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0" h="16">
                    <a:moveTo>
                      <a:pt x="0" y="0"/>
                    </a:moveTo>
                    <a:lnTo>
                      <a:pt x="710" y="0"/>
                    </a:lnTo>
                    <a:cubicBezTo>
                      <a:pt x="709" y="5"/>
                      <a:pt x="708" y="11"/>
                      <a:pt x="707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8" name="Freeform 82"/>
              <p:cNvSpPr>
                <a:spLocks/>
              </p:cNvSpPr>
              <p:nvPr/>
            </p:nvSpPr>
            <p:spPr bwMode="auto">
              <a:xfrm>
                <a:off x="1062" y="714"/>
                <a:ext cx="137" cy="3"/>
              </a:xfrm>
              <a:custGeom>
                <a:avLst/>
                <a:gdLst>
                  <a:gd name="T0" fmla="*/ 0 w 704"/>
                  <a:gd name="T1" fmla="*/ 0 h 16"/>
                  <a:gd name="T2" fmla="*/ 704 w 704"/>
                  <a:gd name="T3" fmla="*/ 0 h 16"/>
                  <a:gd name="T4" fmla="*/ 702 w 704"/>
                  <a:gd name="T5" fmla="*/ 16 h 16"/>
                  <a:gd name="T6" fmla="*/ 0 w 704"/>
                  <a:gd name="T7" fmla="*/ 16 h 16"/>
                  <a:gd name="T8" fmla="*/ 0 w 704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4" h="16">
                    <a:moveTo>
                      <a:pt x="0" y="0"/>
                    </a:moveTo>
                    <a:lnTo>
                      <a:pt x="704" y="0"/>
                    </a:lnTo>
                    <a:cubicBezTo>
                      <a:pt x="703" y="5"/>
                      <a:pt x="703" y="10"/>
                      <a:pt x="70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9" name="Freeform 83"/>
              <p:cNvSpPr>
                <a:spLocks/>
              </p:cNvSpPr>
              <p:nvPr/>
            </p:nvSpPr>
            <p:spPr bwMode="auto">
              <a:xfrm>
                <a:off x="1062" y="721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16 h 16"/>
                  <a:gd name="T6" fmla="*/ 0 w 701"/>
                  <a:gd name="T7" fmla="*/ 16 h 16"/>
                  <a:gd name="T8" fmla="*/ 0 w 701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0" name="Freeform 84"/>
              <p:cNvSpPr>
                <a:spLocks/>
              </p:cNvSpPr>
              <p:nvPr/>
            </p:nvSpPr>
            <p:spPr bwMode="auto">
              <a:xfrm>
                <a:off x="1062" y="727"/>
                <a:ext cx="137" cy="3"/>
              </a:xfrm>
              <a:custGeom>
                <a:avLst/>
                <a:gdLst>
                  <a:gd name="T0" fmla="*/ 0 w 702"/>
                  <a:gd name="T1" fmla="*/ 0 h 15"/>
                  <a:gd name="T2" fmla="*/ 701 w 702"/>
                  <a:gd name="T3" fmla="*/ 0 h 15"/>
                  <a:gd name="T4" fmla="*/ 702 w 702"/>
                  <a:gd name="T5" fmla="*/ 15 h 15"/>
                  <a:gd name="T6" fmla="*/ 0 w 702"/>
                  <a:gd name="T7" fmla="*/ 15 h 15"/>
                  <a:gd name="T8" fmla="*/ 0 w 70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5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2" y="15"/>
                    </a:cubicBez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1" name="Freeform 85"/>
              <p:cNvSpPr>
                <a:spLocks/>
              </p:cNvSpPr>
              <p:nvPr/>
            </p:nvSpPr>
            <p:spPr bwMode="auto">
              <a:xfrm>
                <a:off x="1062" y="733"/>
                <a:ext cx="137" cy="3"/>
              </a:xfrm>
              <a:custGeom>
                <a:avLst/>
                <a:gdLst>
                  <a:gd name="T0" fmla="*/ 0 w 705"/>
                  <a:gd name="T1" fmla="*/ 0 h 16"/>
                  <a:gd name="T2" fmla="*/ 703 w 705"/>
                  <a:gd name="T3" fmla="*/ 0 h 16"/>
                  <a:gd name="T4" fmla="*/ 704 w 705"/>
                  <a:gd name="T5" fmla="*/ 12 h 16"/>
                  <a:gd name="T6" fmla="*/ 705 w 705"/>
                  <a:gd name="T7" fmla="*/ 16 h 16"/>
                  <a:gd name="T8" fmla="*/ 0 w 705"/>
                  <a:gd name="T9" fmla="*/ 16 h 16"/>
                  <a:gd name="T10" fmla="*/ 0 w 705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5" h="16">
                    <a:moveTo>
                      <a:pt x="0" y="0"/>
                    </a:moveTo>
                    <a:lnTo>
                      <a:pt x="703" y="0"/>
                    </a:lnTo>
                    <a:cubicBezTo>
                      <a:pt x="703" y="4"/>
                      <a:pt x="704" y="8"/>
                      <a:pt x="704" y="12"/>
                    </a:cubicBezTo>
                    <a:lnTo>
                      <a:pt x="705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2" name="Freeform 86"/>
              <p:cNvSpPr>
                <a:spLocks/>
              </p:cNvSpPr>
              <p:nvPr/>
            </p:nvSpPr>
            <p:spPr bwMode="auto">
              <a:xfrm>
                <a:off x="1062" y="739"/>
                <a:ext cx="139" cy="3"/>
              </a:xfrm>
              <a:custGeom>
                <a:avLst/>
                <a:gdLst>
                  <a:gd name="T0" fmla="*/ 0 w 712"/>
                  <a:gd name="T1" fmla="*/ 0 h 16"/>
                  <a:gd name="T2" fmla="*/ 708 w 712"/>
                  <a:gd name="T3" fmla="*/ 0 h 16"/>
                  <a:gd name="T4" fmla="*/ 712 w 712"/>
                  <a:gd name="T5" fmla="*/ 16 h 16"/>
                  <a:gd name="T6" fmla="*/ 0 w 712"/>
                  <a:gd name="T7" fmla="*/ 16 h 16"/>
                  <a:gd name="T8" fmla="*/ 0 w 71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2" h="16">
                    <a:moveTo>
                      <a:pt x="0" y="0"/>
                    </a:moveTo>
                    <a:lnTo>
                      <a:pt x="708" y="0"/>
                    </a:lnTo>
                    <a:cubicBezTo>
                      <a:pt x="709" y="6"/>
                      <a:pt x="710" y="11"/>
                      <a:pt x="71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3" name="Freeform 87"/>
              <p:cNvSpPr>
                <a:spLocks/>
              </p:cNvSpPr>
              <p:nvPr/>
            </p:nvSpPr>
            <p:spPr bwMode="auto">
              <a:xfrm>
                <a:off x="1062" y="742"/>
                <a:ext cx="139" cy="2"/>
              </a:xfrm>
              <a:custGeom>
                <a:avLst/>
                <a:gdLst>
                  <a:gd name="T0" fmla="*/ 0 w 715"/>
                  <a:gd name="T1" fmla="*/ 0 h 11"/>
                  <a:gd name="T2" fmla="*/ 712 w 715"/>
                  <a:gd name="T3" fmla="*/ 0 h 11"/>
                  <a:gd name="T4" fmla="*/ 715 w 715"/>
                  <a:gd name="T5" fmla="*/ 11 h 11"/>
                  <a:gd name="T6" fmla="*/ 0 w 715"/>
                  <a:gd name="T7" fmla="*/ 11 h 11"/>
                  <a:gd name="T8" fmla="*/ 0 w 7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1">
                    <a:moveTo>
                      <a:pt x="0" y="0"/>
                    </a:moveTo>
                    <a:lnTo>
                      <a:pt x="712" y="0"/>
                    </a:lnTo>
                    <a:cubicBezTo>
                      <a:pt x="713" y="4"/>
                      <a:pt x="714" y="7"/>
                      <a:pt x="715" y="11"/>
                    </a:cubicBez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4" name="Freeform 88"/>
              <p:cNvSpPr>
                <a:spLocks/>
              </p:cNvSpPr>
              <p:nvPr/>
            </p:nvSpPr>
            <p:spPr bwMode="auto">
              <a:xfrm>
                <a:off x="920" y="696"/>
                <a:ext cx="285" cy="57"/>
              </a:xfrm>
              <a:custGeom>
                <a:avLst/>
                <a:gdLst>
                  <a:gd name="T0" fmla="*/ 1469 w 1469"/>
                  <a:gd name="T1" fmla="*/ 296 h 296"/>
                  <a:gd name="T2" fmla="*/ 62 w 1469"/>
                  <a:gd name="T3" fmla="*/ 296 h 296"/>
                  <a:gd name="T4" fmla="*/ 3 w 1469"/>
                  <a:gd name="T5" fmla="*/ 202 h 296"/>
                  <a:gd name="T6" fmla="*/ 0 w 1469"/>
                  <a:gd name="T7" fmla="*/ 148 h 296"/>
                  <a:gd name="T8" fmla="*/ 3 w 1469"/>
                  <a:gd name="T9" fmla="*/ 94 h 296"/>
                  <a:gd name="T10" fmla="*/ 62 w 1469"/>
                  <a:gd name="T11" fmla="*/ 0 h 296"/>
                  <a:gd name="T12" fmla="*/ 1469 w 1469"/>
                  <a:gd name="T13" fmla="*/ 0 h 296"/>
                  <a:gd name="T14" fmla="*/ 1469 w 1469"/>
                  <a:gd name="T15" fmla="*/ 47 h 296"/>
                  <a:gd name="T16" fmla="*/ 62 w 1469"/>
                  <a:gd name="T17" fmla="*/ 47 h 296"/>
                  <a:gd name="T18" fmla="*/ 49 w 1469"/>
                  <a:gd name="T19" fmla="*/ 100 h 296"/>
                  <a:gd name="T20" fmla="*/ 46 w 1469"/>
                  <a:gd name="T21" fmla="*/ 148 h 296"/>
                  <a:gd name="T22" fmla="*/ 49 w 1469"/>
                  <a:gd name="T23" fmla="*/ 196 h 296"/>
                  <a:gd name="T24" fmla="*/ 62 w 1469"/>
                  <a:gd name="T25" fmla="*/ 249 h 296"/>
                  <a:gd name="T26" fmla="*/ 1469 w 1469"/>
                  <a:gd name="T27" fmla="*/ 249 h 296"/>
                  <a:gd name="T28" fmla="*/ 1469 w 1469"/>
                  <a:gd name="T29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9" h="296">
                    <a:moveTo>
                      <a:pt x="1469" y="296"/>
                    </a:moveTo>
                    <a:lnTo>
                      <a:pt x="62" y="296"/>
                    </a:lnTo>
                    <a:cubicBezTo>
                      <a:pt x="29" y="296"/>
                      <a:pt x="10" y="254"/>
                      <a:pt x="3" y="202"/>
                    </a:cubicBezTo>
                    <a:cubicBezTo>
                      <a:pt x="1" y="184"/>
                      <a:pt x="0" y="166"/>
                      <a:pt x="0" y="148"/>
                    </a:cubicBezTo>
                    <a:cubicBezTo>
                      <a:pt x="0" y="130"/>
                      <a:pt x="1" y="112"/>
                      <a:pt x="3" y="94"/>
                    </a:cubicBezTo>
                    <a:cubicBezTo>
                      <a:pt x="10" y="42"/>
                      <a:pt x="29" y="0"/>
                      <a:pt x="62" y="0"/>
                    </a:cubicBezTo>
                    <a:lnTo>
                      <a:pt x="1469" y="0"/>
                    </a:lnTo>
                    <a:lnTo>
                      <a:pt x="1469" y="47"/>
                    </a:lnTo>
                    <a:lnTo>
                      <a:pt x="62" y="47"/>
                    </a:lnTo>
                    <a:cubicBezTo>
                      <a:pt x="58" y="47"/>
                      <a:pt x="53" y="70"/>
                      <a:pt x="49" y="100"/>
                    </a:cubicBezTo>
                    <a:cubicBezTo>
                      <a:pt x="47" y="115"/>
                      <a:pt x="46" y="131"/>
                      <a:pt x="46" y="148"/>
                    </a:cubicBezTo>
                    <a:cubicBezTo>
                      <a:pt x="46" y="165"/>
                      <a:pt x="47" y="181"/>
                      <a:pt x="49" y="196"/>
                    </a:cubicBezTo>
                    <a:cubicBezTo>
                      <a:pt x="53" y="226"/>
                      <a:pt x="58" y="249"/>
                      <a:pt x="62" y="249"/>
                    </a:cubicBezTo>
                    <a:lnTo>
                      <a:pt x="1469" y="249"/>
                    </a:lnTo>
                    <a:lnTo>
                      <a:pt x="1469" y="296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5" name="Freeform 89"/>
              <p:cNvSpPr>
                <a:spLocks noEditPoints="1"/>
              </p:cNvSpPr>
              <p:nvPr/>
            </p:nvSpPr>
            <p:spPr bwMode="auto">
              <a:xfrm>
                <a:off x="1062" y="696"/>
                <a:ext cx="143" cy="57"/>
              </a:xfrm>
              <a:custGeom>
                <a:avLst/>
                <a:gdLst>
                  <a:gd name="T0" fmla="*/ 735 w 735"/>
                  <a:gd name="T1" fmla="*/ 296 h 296"/>
                  <a:gd name="T2" fmla="*/ 0 w 735"/>
                  <a:gd name="T3" fmla="*/ 296 h 296"/>
                  <a:gd name="T4" fmla="*/ 0 w 735"/>
                  <a:gd name="T5" fmla="*/ 249 h 296"/>
                  <a:gd name="T6" fmla="*/ 735 w 735"/>
                  <a:gd name="T7" fmla="*/ 249 h 296"/>
                  <a:gd name="T8" fmla="*/ 735 w 735"/>
                  <a:gd name="T9" fmla="*/ 296 h 296"/>
                  <a:gd name="T10" fmla="*/ 0 w 735"/>
                  <a:gd name="T11" fmla="*/ 0 h 296"/>
                  <a:gd name="T12" fmla="*/ 735 w 735"/>
                  <a:gd name="T13" fmla="*/ 0 h 296"/>
                  <a:gd name="T14" fmla="*/ 735 w 735"/>
                  <a:gd name="T15" fmla="*/ 47 h 296"/>
                  <a:gd name="T16" fmla="*/ 0 w 735"/>
                  <a:gd name="T17" fmla="*/ 47 h 296"/>
                  <a:gd name="T18" fmla="*/ 0 w 735"/>
                  <a:gd name="T19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5" h="296">
                    <a:moveTo>
                      <a:pt x="735" y="296"/>
                    </a:moveTo>
                    <a:lnTo>
                      <a:pt x="0" y="296"/>
                    </a:lnTo>
                    <a:lnTo>
                      <a:pt x="0" y="249"/>
                    </a:lnTo>
                    <a:lnTo>
                      <a:pt x="735" y="249"/>
                    </a:lnTo>
                    <a:lnTo>
                      <a:pt x="735" y="296"/>
                    </a:lnTo>
                    <a:close/>
                    <a:moveTo>
                      <a:pt x="0" y="0"/>
                    </a:moveTo>
                    <a:lnTo>
                      <a:pt x="735" y="0"/>
                    </a:lnTo>
                    <a:lnTo>
                      <a:pt x="735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6" name="Rectangle 90"/>
              <p:cNvSpPr>
                <a:spLocks noChangeArrowheads="1"/>
              </p:cNvSpPr>
              <p:nvPr/>
            </p:nvSpPr>
            <p:spPr bwMode="auto">
              <a:xfrm>
                <a:off x="909" y="858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7" name="Rectangle 91"/>
              <p:cNvSpPr>
                <a:spLocks noChangeArrowheads="1"/>
              </p:cNvSpPr>
              <p:nvPr/>
            </p:nvSpPr>
            <p:spPr bwMode="auto">
              <a:xfrm>
                <a:off x="909" y="866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8" name="Rectangle 92"/>
              <p:cNvSpPr>
                <a:spLocks noChangeArrowheads="1"/>
              </p:cNvSpPr>
              <p:nvPr/>
            </p:nvSpPr>
            <p:spPr bwMode="auto">
              <a:xfrm>
                <a:off x="909" y="874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9" name="Rectangle 93"/>
              <p:cNvSpPr>
                <a:spLocks noChangeArrowheads="1"/>
              </p:cNvSpPr>
              <p:nvPr/>
            </p:nvSpPr>
            <p:spPr bwMode="auto">
              <a:xfrm>
                <a:off x="909" y="882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0" name="Rectangle 94"/>
              <p:cNvSpPr>
                <a:spLocks noChangeArrowheads="1"/>
              </p:cNvSpPr>
              <p:nvPr/>
            </p:nvSpPr>
            <p:spPr bwMode="auto">
              <a:xfrm>
                <a:off x="909" y="890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1" name="Rectangle 95"/>
              <p:cNvSpPr>
                <a:spLocks noChangeArrowheads="1"/>
              </p:cNvSpPr>
              <p:nvPr/>
            </p:nvSpPr>
            <p:spPr bwMode="auto">
              <a:xfrm>
                <a:off x="909" y="899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2" name="Rectangle 96"/>
              <p:cNvSpPr>
                <a:spLocks noChangeArrowheads="1"/>
              </p:cNvSpPr>
              <p:nvPr/>
            </p:nvSpPr>
            <p:spPr bwMode="auto">
              <a:xfrm>
                <a:off x="909" y="862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3" name="Rectangle 97"/>
              <p:cNvSpPr>
                <a:spLocks noChangeArrowheads="1"/>
              </p:cNvSpPr>
              <p:nvPr/>
            </p:nvSpPr>
            <p:spPr bwMode="auto">
              <a:xfrm>
                <a:off x="909" y="870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4" name="Rectangle 98"/>
              <p:cNvSpPr>
                <a:spLocks noChangeArrowheads="1"/>
              </p:cNvSpPr>
              <p:nvPr/>
            </p:nvSpPr>
            <p:spPr bwMode="auto">
              <a:xfrm>
                <a:off x="909" y="878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5" name="Rectangle 99"/>
              <p:cNvSpPr>
                <a:spLocks noChangeArrowheads="1"/>
              </p:cNvSpPr>
              <p:nvPr/>
            </p:nvSpPr>
            <p:spPr bwMode="auto">
              <a:xfrm>
                <a:off x="909" y="886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6" name="Rectangle 100"/>
              <p:cNvSpPr>
                <a:spLocks noChangeArrowheads="1"/>
              </p:cNvSpPr>
              <p:nvPr/>
            </p:nvSpPr>
            <p:spPr bwMode="auto">
              <a:xfrm>
                <a:off x="909" y="894"/>
                <a:ext cx="184" cy="5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7" name="Rectangle 101"/>
              <p:cNvSpPr>
                <a:spLocks noChangeArrowheads="1"/>
              </p:cNvSpPr>
              <p:nvPr/>
            </p:nvSpPr>
            <p:spPr bwMode="auto">
              <a:xfrm>
                <a:off x="909" y="903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8" name="Rectangle 102"/>
              <p:cNvSpPr>
                <a:spLocks noChangeArrowheads="1"/>
              </p:cNvSpPr>
              <p:nvPr/>
            </p:nvSpPr>
            <p:spPr bwMode="auto">
              <a:xfrm>
                <a:off x="909" y="907"/>
                <a:ext cx="184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9" name="Freeform 103"/>
              <p:cNvSpPr>
                <a:spLocks/>
              </p:cNvSpPr>
              <p:nvPr/>
            </p:nvSpPr>
            <p:spPr bwMode="auto">
              <a:xfrm>
                <a:off x="1093" y="858"/>
                <a:ext cx="184" cy="4"/>
              </a:xfrm>
              <a:custGeom>
                <a:avLst/>
                <a:gdLst>
                  <a:gd name="T0" fmla="*/ 0 w 946"/>
                  <a:gd name="T1" fmla="*/ 0 h 21"/>
                  <a:gd name="T2" fmla="*/ 946 w 946"/>
                  <a:gd name="T3" fmla="*/ 0 h 21"/>
                  <a:gd name="T4" fmla="*/ 939 w 946"/>
                  <a:gd name="T5" fmla="*/ 21 h 21"/>
                  <a:gd name="T6" fmla="*/ 0 w 946"/>
                  <a:gd name="T7" fmla="*/ 21 h 21"/>
                  <a:gd name="T8" fmla="*/ 0 w 94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21">
                    <a:moveTo>
                      <a:pt x="0" y="0"/>
                    </a:moveTo>
                    <a:lnTo>
                      <a:pt x="946" y="0"/>
                    </a:lnTo>
                    <a:cubicBezTo>
                      <a:pt x="943" y="6"/>
                      <a:pt x="941" y="13"/>
                      <a:pt x="93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0" name="Freeform 104"/>
              <p:cNvSpPr>
                <a:spLocks/>
              </p:cNvSpPr>
              <p:nvPr/>
            </p:nvSpPr>
            <p:spPr bwMode="auto">
              <a:xfrm>
                <a:off x="1093" y="866"/>
                <a:ext cx="182" cy="4"/>
              </a:xfrm>
              <a:custGeom>
                <a:avLst/>
                <a:gdLst>
                  <a:gd name="T0" fmla="*/ 0 w 935"/>
                  <a:gd name="T1" fmla="*/ 0 h 21"/>
                  <a:gd name="T2" fmla="*/ 935 w 935"/>
                  <a:gd name="T3" fmla="*/ 0 h 21"/>
                  <a:gd name="T4" fmla="*/ 932 w 935"/>
                  <a:gd name="T5" fmla="*/ 20 h 21"/>
                  <a:gd name="T6" fmla="*/ 931 w 935"/>
                  <a:gd name="T7" fmla="*/ 21 h 21"/>
                  <a:gd name="T8" fmla="*/ 0 w 935"/>
                  <a:gd name="T9" fmla="*/ 21 h 21"/>
                  <a:gd name="T10" fmla="*/ 0 w 935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5" h="21">
                    <a:moveTo>
                      <a:pt x="0" y="0"/>
                    </a:moveTo>
                    <a:lnTo>
                      <a:pt x="935" y="0"/>
                    </a:lnTo>
                    <a:cubicBezTo>
                      <a:pt x="933" y="6"/>
                      <a:pt x="932" y="13"/>
                      <a:pt x="932" y="20"/>
                    </a:cubicBezTo>
                    <a:lnTo>
                      <a:pt x="931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1" name="Freeform 105"/>
              <p:cNvSpPr>
                <a:spLocks/>
              </p:cNvSpPr>
              <p:nvPr/>
            </p:nvSpPr>
            <p:spPr bwMode="auto">
              <a:xfrm>
                <a:off x="1093" y="874"/>
                <a:ext cx="180" cy="4"/>
              </a:xfrm>
              <a:custGeom>
                <a:avLst/>
                <a:gdLst>
                  <a:gd name="T0" fmla="*/ 0 w 929"/>
                  <a:gd name="T1" fmla="*/ 0 h 21"/>
                  <a:gd name="T2" fmla="*/ 929 w 929"/>
                  <a:gd name="T3" fmla="*/ 0 h 21"/>
                  <a:gd name="T4" fmla="*/ 928 w 929"/>
                  <a:gd name="T5" fmla="*/ 21 h 21"/>
                  <a:gd name="T6" fmla="*/ 0 w 929"/>
                  <a:gd name="T7" fmla="*/ 21 h 21"/>
                  <a:gd name="T8" fmla="*/ 0 w 92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9" h="21">
                    <a:moveTo>
                      <a:pt x="0" y="0"/>
                    </a:moveTo>
                    <a:lnTo>
                      <a:pt x="929" y="0"/>
                    </a:lnTo>
                    <a:cubicBezTo>
                      <a:pt x="929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2" name="Freeform 106"/>
              <p:cNvSpPr>
                <a:spLocks/>
              </p:cNvSpPr>
              <p:nvPr/>
            </p:nvSpPr>
            <p:spPr bwMode="auto">
              <a:xfrm>
                <a:off x="1093" y="882"/>
                <a:ext cx="180" cy="4"/>
              </a:xfrm>
              <a:custGeom>
                <a:avLst/>
                <a:gdLst>
                  <a:gd name="T0" fmla="*/ 0 w 927"/>
                  <a:gd name="T1" fmla="*/ 0 h 21"/>
                  <a:gd name="T2" fmla="*/ 927 w 927"/>
                  <a:gd name="T3" fmla="*/ 0 h 21"/>
                  <a:gd name="T4" fmla="*/ 927 w 927"/>
                  <a:gd name="T5" fmla="*/ 7 h 21"/>
                  <a:gd name="T6" fmla="*/ 927 w 927"/>
                  <a:gd name="T7" fmla="*/ 21 h 21"/>
                  <a:gd name="T8" fmla="*/ 0 w 927"/>
                  <a:gd name="T9" fmla="*/ 21 h 21"/>
                  <a:gd name="T10" fmla="*/ 0 w 927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21">
                    <a:moveTo>
                      <a:pt x="0" y="0"/>
                    </a:moveTo>
                    <a:lnTo>
                      <a:pt x="927" y="0"/>
                    </a:lnTo>
                    <a:lnTo>
                      <a:pt x="927" y="7"/>
                    </a:lnTo>
                    <a:cubicBezTo>
                      <a:pt x="927" y="12"/>
                      <a:pt x="927" y="16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3" name="Freeform 107"/>
              <p:cNvSpPr>
                <a:spLocks/>
              </p:cNvSpPr>
              <p:nvPr/>
            </p:nvSpPr>
            <p:spPr bwMode="auto">
              <a:xfrm>
                <a:off x="1093" y="890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28 w 930"/>
                  <a:gd name="T3" fmla="*/ 0 h 21"/>
                  <a:gd name="T4" fmla="*/ 930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9" y="7"/>
                      <a:pt x="929" y="14"/>
                      <a:pt x="93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4" name="Freeform 108"/>
              <p:cNvSpPr>
                <a:spLocks/>
              </p:cNvSpPr>
              <p:nvPr/>
            </p:nvSpPr>
            <p:spPr bwMode="auto">
              <a:xfrm>
                <a:off x="1093" y="899"/>
                <a:ext cx="182" cy="4"/>
              </a:xfrm>
              <a:custGeom>
                <a:avLst/>
                <a:gdLst>
                  <a:gd name="T0" fmla="*/ 0 w 936"/>
                  <a:gd name="T1" fmla="*/ 0 h 21"/>
                  <a:gd name="T2" fmla="*/ 932 w 936"/>
                  <a:gd name="T3" fmla="*/ 0 h 21"/>
                  <a:gd name="T4" fmla="*/ 936 w 936"/>
                  <a:gd name="T5" fmla="*/ 21 h 21"/>
                  <a:gd name="T6" fmla="*/ 0 w 936"/>
                  <a:gd name="T7" fmla="*/ 21 h 21"/>
                  <a:gd name="T8" fmla="*/ 0 w 93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" h="21">
                    <a:moveTo>
                      <a:pt x="0" y="0"/>
                    </a:moveTo>
                    <a:lnTo>
                      <a:pt x="932" y="0"/>
                    </a:lnTo>
                    <a:cubicBezTo>
                      <a:pt x="933" y="7"/>
                      <a:pt x="935" y="14"/>
                      <a:pt x="936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5" name="Freeform 109"/>
              <p:cNvSpPr>
                <a:spLocks/>
              </p:cNvSpPr>
              <p:nvPr/>
            </p:nvSpPr>
            <p:spPr bwMode="auto">
              <a:xfrm>
                <a:off x="1093" y="862"/>
                <a:ext cx="182" cy="4"/>
              </a:xfrm>
              <a:custGeom>
                <a:avLst/>
                <a:gdLst>
                  <a:gd name="T0" fmla="*/ 0 w 939"/>
                  <a:gd name="T1" fmla="*/ 0 h 21"/>
                  <a:gd name="T2" fmla="*/ 939 w 939"/>
                  <a:gd name="T3" fmla="*/ 0 h 21"/>
                  <a:gd name="T4" fmla="*/ 935 w 939"/>
                  <a:gd name="T5" fmla="*/ 21 h 21"/>
                  <a:gd name="T6" fmla="*/ 0 w 939"/>
                  <a:gd name="T7" fmla="*/ 21 h 21"/>
                  <a:gd name="T8" fmla="*/ 0 w 93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9" h="21">
                    <a:moveTo>
                      <a:pt x="0" y="0"/>
                    </a:moveTo>
                    <a:lnTo>
                      <a:pt x="939" y="0"/>
                    </a:lnTo>
                    <a:cubicBezTo>
                      <a:pt x="938" y="6"/>
                      <a:pt x="936" y="13"/>
                      <a:pt x="93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6" name="Freeform 110"/>
              <p:cNvSpPr>
                <a:spLocks/>
              </p:cNvSpPr>
              <p:nvPr/>
            </p:nvSpPr>
            <p:spPr bwMode="auto">
              <a:xfrm>
                <a:off x="1093" y="870"/>
                <a:ext cx="181" cy="4"/>
              </a:xfrm>
              <a:custGeom>
                <a:avLst/>
                <a:gdLst>
                  <a:gd name="T0" fmla="*/ 0 w 931"/>
                  <a:gd name="T1" fmla="*/ 0 h 21"/>
                  <a:gd name="T2" fmla="*/ 931 w 931"/>
                  <a:gd name="T3" fmla="*/ 0 h 21"/>
                  <a:gd name="T4" fmla="*/ 929 w 931"/>
                  <a:gd name="T5" fmla="*/ 21 h 21"/>
                  <a:gd name="T6" fmla="*/ 0 w 931"/>
                  <a:gd name="T7" fmla="*/ 21 h 21"/>
                  <a:gd name="T8" fmla="*/ 0 w 93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21">
                    <a:moveTo>
                      <a:pt x="0" y="0"/>
                    </a:moveTo>
                    <a:lnTo>
                      <a:pt x="931" y="0"/>
                    </a:lnTo>
                    <a:cubicBezTo>
                      <a:pt x="931" y="7"/>
                      <a:pt x="930" y="14"/>
                      <a:pt x="92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7" name="Freeform 111"/>
              <p:cNvSpPr>
                <a:spLocks/>
              </p:cNvSpPr>
              <p:nvPr/>
            </p:nvSpPr>
            <p:spPr bwMode="auto">
              <a:xfrm>
                <a:off x="1093" y="878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8 w 928"/>
                  <a:gd name="T3" fmla="*/ 0 h 21"/>
                  <a:gd name="T4" fmla="*/ 927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7" y="7"/>
                      <a:pt x="927" y="14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8" name="Freeform 112"/>
              <p:cNvSpPr>
                <a:spLocks/>
              </p:cNvSpPr>
              <p:nvPr/>
            </p:nvSpPr>
            <p:spPr bwMode="auto">
              <a:xfrm>
                <a:off x="1093" y="886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7 w 928"/>
                  <a:gd name="T3" fmla="*/ 0 h 21"/>
                  <a:gd name="T4" fmla="*/ 928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7" y="0"/>
                    </a:lnTo>
                    <a:cubicBezTo>
                      <a:pt x="927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9" name="Freeform 113"/>
              <p:cNvSpPr>
                <a:spLocks/>
              </p:cNvSpPr>
              <p:nvPr/>
            </p:nvSpPr>
            <p:spPr bwMode="auto">
              <a:xfrm>
                <a:off x="1093" y="894"/>
                <a:ext cx="181" cy="5"/>
              </a:xfrm>
              <a:custGeom>
                <a:avLst/>
                <a:gdLst>
                  <a:gd name="T0" fmla="*/ 0 w 932"/>
                  <a:gd name="T1" fmla="*/ 0 h 21"/>
                  <a:gd name="T2" fmla="*/ 930 w 932"/>
                  <a:gd name="T3" fmla="*/ 0 h 21"/>
                  <a:gd name="T4" fmla="*/ 932 w 932"/>
                  <a:gd name="T5" fmla="*/ 15 h 21"/>
                  <a:gd name="T6" fmla="*/ 932 w 932"/>
                  <a:gd name="T7" fmla="*/ 21 h 21"/>
                  <a:gd name="T8" fmla="*/ 0 w 932"/>
                  <a:gd name="T9" fmla="*/ 21 h 21"/>
                  <a:gd name="T10" fmla="*/ 0 w 932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30" y="5"/>
                      <a:pt x="931" y="10"/>
                      <a:pt x="932" y="15"/>
                    </a:cubicBezTo>
                    <a:lnTo>
                      <a:pt x="932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0" name="Freeform 114"/>
              <p:cNvSpPr>
                <a:spLocks/>
              </p:cNvSpPr>
              <p:nvPr/>
            </p:nvSpPr>
            <p:spPr bwMode="auto">
              <a:xfrm>
                <a:off x="1093" y="903"/>
                <a:ext cx="183" cy="4"/>
              </a:xfrm>
              <a:custGeom>
                <a:avLst/>
                <a:gdLst>
                  <a:gd name="T0" fmla="*/ 0 w 941"/>
                  <a:gd name="T1" fmla="*/ 0 h 21"/>
                  <a:gd name="T2" fmla="*/ 936 w 941"/>
                  <a:gd name="T3" fmla="*/ 0 h 21"/>
                  <a:gd name="T4" fmla="*/ 941 w 941"/>
                  <a:gd name="T5" fmla="*/ 21 h 21"/>
                  <a:gd name="T6" fmla="*/ 0 w 941"/>
                  <a:gd name="T7" fmla="*/ 21 h 21"/>
                  <a:gd name="T8" fmla="*/ 0 w 94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1" h="21">
                    <a:moveTo>
                      <a:pt x="0" y="0"/>
                    </a:moveTo>
                    <a:lnTo>
                      <a:pt x="936" y="0"/>
                    </a:lnTo>
                    <a:cubicBezTo>
                      <a:pt x="938" y="7"/>
                      <a:pt x="939" y="14"/>
                      <a:pt x="94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1" name="Freeform 115"/>
              <p:cNvSpPr>
                <a:spLocks/>
              </p:cNvSpPr>
              <p:nvPr/>
            </p:nvSpPr>
            <p:spPr bwMode="auto">
              <a:xfrm>
                <a:off x="1093" y="907"/>
                <a:ext cx="184" cy="2"/>
              </a:xfrm>
              <a:custGeom>
                <a:avLst/>
                <a:gdLst>
                  <a:gd name="T0" fmla="*/ 0 w 946"/>
                  <a:gd name="T1" fmla="*/ 0 h 14"/>
                  <a:gd name="T2" fmla="*/ 941 w 946"/>
                  <a:gd name="T3" fmla="*/ 0 h 14"/>
                  <a:gd name="T4" fmla="*/ 946 w 946"/>
                  <a:gd name="T5" fmla="*/ 14 h 14"/>
                  <a:gd name="T6" fmla="*/ 0 w 946"/>
                  <a:gd name="T7" fmla="*/ 14 h 14"/>
                  <a:gd name="T8" fmla="*/ 0 w 94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14">
                    <a:moveTo>
                      <a:pt x="0" y="0"/>
                    </a:moveTo>
                    <a:lnTo>
                      <a:pt x="941" y="0"/>
                    </a:lnTo>
                    <a:cubicBezTo>
                      <a:pt x="943" y="5"/>
                      <a:pt x="944" y="10"/>
                      <a:pt x="946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2" name="Freeform 116"/>
              <p:cNvSpPr>
                <a:spLocks/>
              </p:cNvSpPr>
              <p:nvPr/>
            </p:nvSpPr>
            <p:spPr bwMode="auto">
              <a:xfrm>
                <a:off x="905" y="846"/>
                <a:ext cx="377" cy="75"/>
              </a:xfrm>
              <a:custGeom>
                <a:avLst/>
                <a:gdLst>
                  <a:gd name="T0" fmla="*/ 1943 w 1943"/>
                  <a:gd name="T1" fmla="*/ 390 h 390"/>
                  <a:gd name="T2" fmla="*/ 83 w 1943"/>
                  <a:gd name="T3" fmla="*/ 390 h 390"/>
                  <a:gd name="T4" fmla="*/ 4 w 1943"/>
                  <a:gd name="T5" fmla="*/ 266 h 390"/>
                  <a:gd name="T6" fmla="*/ 0 w 1943"/>
                  <a:gd name="T7" fmla="*/ 195 h 390"/>
                  <a:gd name="T8" fmla="*/ 4 w 1943"/>
                  <a:gd name="T9" fmla="*/ 124 h 390"/>
                  <a:gd name="T10" fmla="*/ 83 w 1943"/>
                  <a:gd name="T11" fmla="*/ 0 h 390"/>
                  <a:gd name="T12" fmla="*/ 1943 w 1943"/>
                  <a:gd name="T13" fmla="*/ 0 h 390"/>
                  <a:gd name="T14" fmla="*/ 1943 w 1943"/>
                  <a:gd name="T15" fmla="*/ 62 h 390"/>
                  <a:gd name="T16" fmla="*/ 83 w 1943"/>
                  <a:gd name="T17" fmla="*/ 62 h 390"/>
                  <a:gd name="T18" fmla="*/ 65 w 1943"/>
                  <a:gd name="T19" fmla="*/ 132 h 390"/>
                  <a:gd name="T20" fmla="*/ 61 w 1943"/>
                  <a:gd name="T21" fmla="*/ 195 h 390"/>
                  <a:gd name="T22" fmla="*/ 65 w 1943"/>
                  <a:gd name="T23" fmla="*/ 258 h 390"/>
                  <a:gd name="T24" fmla="*/ 83 w 1943"/>
                  <a:gd name="T25" fmla="*/ 328 h 390"/>
                  <a:gd name="T26" fmla="*/ 1943 w 1943"/>
                  <a:gd name="T27" fmla="*/ 328 h 390"/>
                  <a:gd name="T28" fmla="*/ 1943 w 1943"/>
                  <a:gd name="T2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3" h="390">
                    <a:moveTo>
                      <a:pt x="1943" y="390"/>
                    </a:moveTo>
                    <a:lnTo>
                      <a:pt x="83" y="390"/>
                    </a:lnTo>
                    <a:cubicBezTo>
                      <a:pt x="39" y="390"/>
                      <a:pt x="13" y="336"/>
                      <a:pt x="4" y="266"/>
                    </a:cubicBezTo>
                    <a:cubicBezTo>
                      <a:pt x="1" y="243"/>
                      <a:pt x="0" y="219"/>
                      <a:pt x="0" y="195"/>
                    </a:cubicBezTo>
                    <a:cubicBezTo>
                      <a:pt x="0" y="171"/>
                      <a:pt x="1" y="147"/>
                      <a:pt x="4" y="124"/>
                    </a:cubicBezTo>
                    <a:cubicBezTo>
                      <a:pt x="13" y="54"/>
                      <a:pt x="39" y="0"/>
                      <a:pt x="83" y="0"/>
                    </a:cubicBezTo>
                    <a:lnTo>
                      <a:pt x="1943" y="0"/>
                    </a:lnTo>
                    <a:lnTo>
                      <a:pt x="1943" y="62"/>
                    </a:lnTo>
                    <a:lnTo>
                      <a:pt x="83" y="62"/>
                    </a:lnTo>
                    <a:cubicBezTo>
                      <a:pt x="77" y="62"/>
                      <a:pt x="70" y="92"/>
                      <a:pt x="65" y="132"/>
                    </a:cubicBezTo>
                    <a:cubicBezTo>
                      <a:pt x="63" y="151"/>
                      <a:pt x="61" y="173"/>
                      <a:pt x="61" y="195"/>
                    </a:cubicBezTo>
                    <a:cubicBezTo>
                      <a:pt x="61" y="217"/>
                      <a:pt x="63" y="239"/>
                      <a:pt x="65" y="258"/>
                    </a:cubicBezTo>
                    <a:cubicBezTo>
                      <a:pt x="70" y="298"/>
                      <a:pt x="77" y="328"/>
                      <a:pt x="83" y="328"/>
                    </a:cubicBezTo>
                    <a:lnTo>
                      <a:pt x="1943" y="328"/>
                    </a:lnTo>
                    <a:lnTo>
                      <a:pt x="1943" y="390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3" name="Freeform 117"/>
              <p:cNvSpPr>
                <a:spLocks noEditPoints="1"/>
              </p:cNvSpPr>
              <p:nvPr/>
            </p:nvSpPr>
            <p:spPr bwMode="auto">
              <a:xfrm>
                <a:off x="1093" y="846"/>
                <a:ext cx="189" cy="75"/>
              </a:xfrm>
              <a:custGeom>
                <a:avLst/>
                <a:gdLst>
                  <a:gd name="T0" fmla="*/ 972 w 972"/>
                  <a:gd name="T1" fmla="*/ 390 h 390"/>
                  <a:gd name="T2" fmla="*/ 0 w 972"/>
                  <a:gd name="T3" fmla="*/ 390 h 390"/>
                  <a:gd name="T4" fmla="*/ 0 w 972"/>
                  <a:gd name="T5" fmla="*/ 328 h 390"/>
                  <a:gd name="T6" fmla="*/ 972 w 972"/>
                  <a:gd name="T7" fmla="*/ 328 h 390"/>
                  <a:gd name="T8" fmla="*/ 972 w 972"/>
                  <a:gd name="T9" fmla="*/ 390 h 390"/>
                  <a:gd name="T10" fmla="*/ 0 w 972"/>
                  <a:gd name="T11" fmla="*/ 0 h 390"/>
                  <a:gd name="T12" fmla="*/ 972 w 972"/>
                  <a:gd name="T13" fmla="*/ 0 h 390"/>
                  <a:gd name="T14" fmla="*/ 972 w 972"/>
                  <a:gd name="T15" fmla="*/ 62 h 390"/>
                  <a:gd name="T16" fmla="*/ 0 w 972"/>
                  <a:gd name="T17" fmla="*/ 62 h 390"/>
                  <a:gd name="T18" fmla="*/ 0 w 972"/>
                  <a:gd name="T1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2" h="390">
                    <a:moveTo>
                      <a:pt x="972" y="390"/>
                    </a:moveTo>
                    <a:lnTo>
                      <a:pt x="0" y="390"/>
                    </a:lnTo>
                    <a:lnTo>
                      <a:pt x="0" y="328"/>
                    </a:lnTo>
                    <a:lnTo>
                      <a:pt x="972" y="328"/>
                    </a:lnTo>
                    <a:lnTo>
                      <a:pt x="972" y="390"/>
                    </a:lnTo>
                    <a:close/>
                    <a:moveTo>
                      <a:pt x="0" y="0"/>
                    </a:moveTo>
                    <a:lnTo>
                      <a:pt x="972" y="0"/>
                    </a:lnTo>
                    <a:lnTo>
                      <a:pt x="972" y="62"/>
                    </a:lnTo>
                    <a:lnTo>
                      <a:pt x="0" y="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4" name="Rectangle 118"/>
              <p:cNvSpPr>
                <a:spLocks noChangeArrowheads="1"/>
              </p:cNvSpPr>
              <p:nvPr/>
            </p:nvSpPr>
            <p:spPr bwMode="auto">
              <a:xfrm>
                <a:off x="905" y="763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5" name="Rectangle 119"/>
              <p:cNvSpPr>
                <a:spLocks noChangeArrowheads="1"/>
              </p:cNvSpPr>
              <p:nvPr/>
            </p:nvSpPr>
            <p:spPr bwMode="auto">
              <a:xfrm>
                <a:off x="905" y="775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6" name="Rectangle 120"/>
              <p:cNvSpPr>
                <a:spLocks noChangeArrowheads="1"/>
              </p:cNvSpPr>
              <p:nvPr/>
            </p:nvSpPr>
            <p:spPr bwMode="auto">
              <a:xfrm>
                <a:off x="905" y="786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7" name="Rectangle 121"/>
              <p:cNvSpPr>
                <a:spLocks noChangeArrowheads="1"/>
              </p:cNvSpPr>
              <p:nvPr/>
            </p:nvSpPr>
            <p:spPr bwMode="auto">
              <a:xfrm>
                <a:off x="905" y="798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8" name="Rectangle 122"/>
              <p:cNvSpPr>
                <a:spLocks noChangeArrowheads="1"/>
              </p:cNvSpPr>
              <p:nvPr/>
            </p:nvSpPr>
            <p:spPr bwMode="auto">
              <a:xfrm>
                <a:off x="905" y="809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9" name="Rectangle 123"/>
              <p:cNvSpPr>
                <a:spLocks noChangeArrowheads="1"/>
              </p:cNvSpPr>
              <p:nvPr/>
            </p:nvSpPr>
            <p:spPr bwMode="auto">
              <a:xfrm>
                <a:off x="905" y="821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0" name="Rectangle 124"/>
              <p:cNvSpPr>
                <a:spLocks noChangeArrowheads="1"/>
              </p:cNvSpPr>
              <p:nvPr/>
            </p:nvSpPr>
            <p:spPr bwMode="auto">
              <a:xfrm>
                <a:off x="905" y="769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1" name="Rectangle 125"/>
              <p:cNvSpPr>
                <a:spLocks noChangeArrowheads="1"/>
              </p:cNvSpPr>
              <p:nvPr/>
            </p:nvSpPr>
            <p:spPr bwMode="auto">
              <a:xfrm>
                <a:off x="905" y="780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2" name="Rectangle 126"/>
              <p:cNvSpPr>
                <a:spLocks noChangeArrowheads="1"/>
              </p:cNvSpPr>
              <p:nvPr/>
            </p:nvSpPr>
            <p:spPr bwMode="auto">
              <a:xfrm>
                <a:off x="905" y="792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3" name="Rectangle 127"/>
              <p:cNvSpPr>
                <a:spLocks noChangeArrowheads="1"/>
              </p:cNvSpPr>
              <p:nvPr/>
            </p:nvSpPr>
            <p:spPr bwMode="auto">
              <a:xfrm>
                <a:off x="905" y="803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4" name="Rectangle 128"/>
              <p:cNvSpPr>
                <a:spLocks noChangeArrowheads="1"/>
              </p:cNvSpPr>
              <p:nvPr/>
            </p:nvSpPr>
            <p:spPr bwMode="auto">
              <a:xfrm>
                <a:off x="905" y="815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5" name="Rectangle 129"/>
              <p:cNvSpPr>
                <a:spLocks noChangeArrowheads="1"/>
              </p:cNvSpPr>
              <p:nvPr/>
            </p:nvSpPr>
            <p:spPr bwMode="auto">
              <a:xfrm>
                <a:off x="905" y="826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6" name="Rectangle 130"/>
              <p:cNvSpPr>
                <a:spLocks noChangeArrowheads="1"/>
              </p:cNvSpPr>
              <p:nvPr/>
            </p:nvSpPr>
            <p:spPr bwMode="auto">
              <a:xfrm>
                <a:off x="905" y="832"/>
                <a:ext cx="137" cy="4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7" name="Freeform 131"/>
              <p:cNvSpPr>
                <a:spLocks/>
              </p:cNvSpPr>
              <p:nvPr/>
            </p:nvSpPr>
            <p:spPr bwMode="auto">
              <a:xfrm>
                <a:off x="1042" y="763"/>
                <a:ext cx="137" cy="6"/>
              </a:xfrm>
              <a:custGeom>
                <a:avLst/>
                <a:gdLst>
                  <a:gd name="T0" fmla="*/ 0 w 703"/>
                  <a:gd name="T1" fmla="*/ 0 h 30"/>
                  <a:gd name="T2" fmla="*/ 703 w 703"/>
                  <a:gd name="T3" fmla="*/ 0 h 30"/>
                  <a:gd name="T4" fmla="*/ 691 w 703"/>
                  <a:gd name="T5" fmla="*/ 30 h 30"/>
                  <a:gd name="T6" fmla="*/ 0 w 703"/>
                  <a:gd name="T7" fmla="*/ 30 h 30"/>
                  <a:gd name="T8" fmla="*/ 0 w 70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30">
                    <a:moveTo>
                      <a:pt x="0" y="0"/>
                    </a:moveTo>
                    <a:lnTo>
                      <a:pt x="703" y="0"/>
                    </a:lnTo>
                    <a:cubicBezTo>
                      <a:pt x="698" y="9"/>
                      <a:pt x="694" y="19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8" name="Freeform 132"/>
              <p:cNvSpPr>
                <a:spLocks/>
              </p:cNvSpPr>
              <p:nvPr/>
            </p:nvSpPr>
            <p:spPr bwMode="auto">
              <a:xfrm>
                <a:off x="1042" y="775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82 w 682"/>
                  <a:gd name="T3" fmla="*/ 0 h 29"/>
                  <a:gd name="T4" fmla="*/ 677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82" y="0"/>
                    </a:lnTo>
                    <a:cubicBezTo>
                      <a:pt x="680" y="9"/>
                      <a:pt x="678" y="19"/>
                      <a:pt x="677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9" name="Freeform 133"/>
              <p:cNvSpPr>
                <a:spLocks/>
              </p:cNvSpPr>
              <p:nvPr/>
            </p:nvSpPr>
            <p:spPr bwMode="auto">
              <a:xfrm>
                <a:off x="1042" y="786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3 w 673"/>
                  <a:gd name="T3" fmla="*/ 0 h 30"/>
                  <a:gd name="T4" fmla="*/ 671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2" y="10"/>
                      <a:pt x="671" y="20"/>
                      <a:pt x="67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0" name="Freeform 134"/>
              <p:cNvSpPr>
                <a:spLocks/>
              </p:cNvSpPr>
              <p:nvPr/>
            </p:nvSpPr>
            <p:spPr bwMode="auto">
              <a:xfrm>
                <a:off x="1042" y="798"/>
                <a:ext cx="130" cy="5"/>
              </a:xfrm>
              <a:custGeom>
                <a:avLst/>
                <a:gdLst>
                  <a:gd name="T0" fmla="*/ 0 w 669"/>
                  <a:gd name="T1" fmla="*/ 0 h 30"/>
                  <a:gd name="T2" fmla="*/ 669 w 669"/>
                  <a:gd name="T3" fmla="*/ 0 h 30"/>
                  <a:gd name="T4" fmla="*/ 669 w 669"/>
                  <a:gd name="T5" fmla="*/ 15 h 30"/>
                  <a:gd name="T6" fmla="*/ 669 w 669"/>
                  <a:gd name="T7" fmla="*/ 30 h 30"/>
                  <a:gd name="T8" fmla="*/ 0 w 669"/>
                  <a:gd name="T9" fmla="*/ 30 h 30"/>
                  <a:gd name="T10" fmla="*/ 0 w 66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9" h="30">
                    <a:moveTo>
                      <a:pt x="0" y="0"/>
                    </a:moveTo>
                    <a:lnTo>
                      <a:pt x="669" y="0"/>
                    </a:lnTo>
                    <a:cubicBezTo>
                      <a:pt x="669" y="5"/>
                      <a:pt x="669" y="10"/>
                      <a:pt x="669" y="15"/>
                    </a:cubicBezTo>
                    <a:cubicBezTo>
                      <a:pt x="669" y="20"/>
                      <a:pt x="669" y="25"/>
                      <a:pt x="669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1" name="Freeform 135"/>
              <p:cNvSpPr>
                <a:spLocks/>
              </p:cNvSpPr>
              <p:nvPr/>
            </p:nvSpPr>
            <p:spPr bwMode="auto">
              <a:xfrm>
                <a:off x="1042" y="809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1 w 673"/>
                  <a:gd name="T3" fmla="*/ 0 h 30"/>
                  <a:gd name="T4" fmla="*/ 673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1" y="0"/>
                    </a:lnTo>
                    <a:cubicBezTo>
                      <a:pt x="671" y="10"/>
                      <a:pt x="672" y="20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2" name="Freeform 136"/>
              <p:cNvSpPr>
                <a:spLocks/>
              </p:cNvSpPr>
              <p:nvPr/>
            </p:nvSpPr>
            <p:spPr bwMode="auto">
              <a:xfrm>
                <a:off x="1042" y="821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77 w 682"/>
                  <a:gd name="T3" fmla="*/ 0 h 29"/>
                  <a:gd name="T4" fmla="*/ 682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77" y="0"/>
                    </a:lnTo>
                    <a:cubicBezTo>
                      <a:pt x="678" y="10"/>
                      <a:pt x="680" y="20"/>
                      <a:pt x="682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3" name="Freeform 137"/>
              <p:cNvSpPr>
                <a:spLocks/>
              </p:cNvSpPr>
              <p:nvPr/>
            </p:nvSpPr>
            <p:spPr bwMode="auto">
              <a:xfrm>
                <a:off x="1042" y="769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91 w 691"/>
                  <a:gd name="T3" fmla="*/ 0 h 30"/>
                  <a:gd name="T4" fmla="*/ 682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91" y="0"/>
                    </a:lnTo>
                    <a:cubicBezTo>
                      <a:pt x="688" y="9"/>
                      <a:pt x="685" y="19"/>
                      <a:pt x="682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4" name="Freeform 138"/>
              <p:cNvSpPr>
                <a:spLocks/>
              </p:cNvSpPr>
              <p:nvPr/>
            </p:nvSpPr>
            <p:spPr bwMode="auto">
              <a:xfrm>
                <a:off x="1042" y="780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7 w 677"/>
                  <a:gd name="T3" fmla="*/ 0 h 30"/>
                  <a:gd name="T4" fmla="*/ 675 w 677"/>
                  <a:gd name="T5" fmla="*/ 14 h 30"/>
                  <a:gd name="T6" fmla="*/ 673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7" y="0"/>
                    </a:lnTo>
                    <a:cubicBezTo>
                      <a:pt x="676" y="5"/>
                      <a:pt x="675" y="9"/>
                      <a:pt x="675" y="14"/>
                    </a:cubicBezTo>
                    <a:cubicBezTo>
                      <a:pt x="674" y="19"/>
                      <a:pt x="674" y="24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5" name="Freeform 139"/>
              <p:cNvSpPr>
                <a:spLocks/>
              </p:cNvSpPr>
              <p:nvPr/>
            </p:nvSpPr>
            <p:spPr bwMode="auto">
              <a:xfrm>
                <a:off x="1042" y="792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71 w 671"/>
                  <a:gd name="T3" fmla="*/ 0 h 29"/>
                  <a:gd name="T4" fmla="*/ 669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71" y="0"/>
                    </a:lnTo>
                    <a:cubicBezTo>
                      <a:pt x="670" y="9"/>
                      <a:pt x="670" y="19"/>
                      <a:pt x="669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6" name="Freeform 140"/>
              <p:cNvSpPr>
                <a:spLocks/>
              </p:cNvSpPr>
              <p:nvPr/>
            </p:nvSpPr>
            <p:spPr bwMode="auto">
              <a:xfrm>
                <a:off x="1042" y="803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69 w 671"/>
                  <a:gd name="T3" fmla="*/ 0 h 29"/>
                  <a:gd name="T4" fmla="*/ 671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69" y="0"/>
                    </a:lnTo>
                    <a:cubicBezTo>
                      <a:pt x="670" y="10"/>
                      <a:pt x="670" y="20"/>
                      <a:pt x="671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7" name="Freeform 141"/>
              <p:cNvSpPr>
                <a:spLocks/>
              </p:cNvSpPr>
              <p:nvPr/>
            </p:nvSpPr>
            <p:spPr bwMode="auto">
              <a:xfrm>
                <a:off x="1042" y="815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3 w 677"/>
                  <a:gd name="T3" fmla="*/ 0 h 30"/>
                  <a:gd name="T4" fmla="*/ 675 w 677"/>
                  <a:gd name="T5" fmla="*/ 16 h 30"/>
                  <a:gd name="T6" fmla="*/ 677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4" y="6"/>
                      <a:pt x="674" y="11"/>
                      <a:pt x="675" y="16"/>
                    </a:cubicBezTo>
                    <a:cubicBezTo>
                      <a:pt x="675" y="21"/>
                      <a:pt x="676" y="25"/>
                      <a:pt x="677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8" name="Freeform 142"/>
              <p:cNvSpPr>
                <a:spLocks/>
              </p:cNvSpPr>
              <p:nvPr/>
            </p:nvSpPr>
            <p:spPr bwMode="auto">
              <a:xfrm>
                <a:off x="1042" y="826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82 w 691"/>
                  <a:gd name="T3" fmla="*/ 0 h 30"/>
                  <a:gd name="T4" fmla="*/ 691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82" y="0"/>
                    </a:lnTo>
                    <a:cubicBezTo>
                      <a:pt x="685" y="11"/>
                      <a:pt x="688" y="21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9" name="Freeform 143"/>
              <p:cNvSpPr>
                <a:spLocks/>
              </p:cNvSpPr>
              <p:nvPr/>
            </p:nvSpPr>
            <p:spPr bwMode="auto">
              <a:xfrm>
                <a:off x="1042" y="832"/>
                <a:ext cx="136" cy="4"/>
              </a:xfrm>
              <a:custGeom>
                <a:avLst/>
                <a:gdLst>
                  <a:gd name="T0" fmla="*/ 0 w 698"/>
                  <a:gd name="T1" fmla="*/ 0 h 20"/>
                  <a:gd name="T2" fmla="*/ 691 w 698"/>
                  <a:gd name="T3" fmla="*/ 0 h 20"/>
                  <a:gd name="T4" fmla="*/ 698 w 698"/>
                  <a:gd name="T5" fmla="*/ 20 h 20"/>
                  <a:gd name="T6" fmla="*/ 0 w 698"/>
                  <a:gd name="T7" fmla="*/ 20 h 20"/>
                  <a:gd name="T8" fmla="*/ 0 w 69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8" h="20">
                    <a:moveTo>
                      <a:pt x="0" y="0"/>
                    </a:moveTo>
                    <a:lnTo>
                      <a:pt x="691" y="0"/>
                    </a:lnTo>
                    <a:cubicBezTo>
                      <a:pt x="693" y="7"/>
                      <a:pt x="696" y="14"/>
                      <a:pt x="698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0" name="Freeform 144"/>
              <p:cNvSpPr>
                <a:spLocks/>
              </p:cNvSpPr>
              <p:nvPr/>
            </p:nvSpPr>
            <p:spPr bwMode="auto">
              <a:xfrm>
                <a:off x="897" y="753"/>
                <a:ext cx="290" cy="93"/>
              </a:xfrm>
              <a:custGeom>
                <a:avLst/>
                <a:gdLst>
                  <a:gd name="T0" fmla="*/ 1496 w 1496"/>
                  <a:gd name="T1" fmla="*/ 477 h 477"/>
                  <a:gd name="T2" fmla="*/ 93 w 1496"/>
                  <a:gd name="T3" fmla="*/ 477 h 477"/>
                  <a:gd name="T4" fmla="*/ 6 w 1496"/>
                  <a:gd name="T5" fmla="*/ 329 h 477"/>
                  <a:gd name="T6" fmla="*/ 0 w 1496"/>
                  <a:gd name="T7" fmla="*/ 238 h 477"/>
                  <a:gd name="T8" fmla="*/ 6 w 1496"/>
                  <a:gd name="T9" fmla="*/ 148 h 477"/>
                  <a:gd name="T10" fmla="*/ 93 w 1496"/>
                  <a:gd name="T11" fmla="*/ 0 h 477"/>
                  <a:gd name="T12" fmla="*/ 1496 w 1496"/>
                  <a:gd name="T13" fmla="*/ 0 h 477"/>
                  <a:gd name="T14" fmla="*/ 1496 w 1496"/>
                  <a:gd name="T15" fmla="*/ 50 h 477"/>
                  <a:gd name="T16" fmla="*/ 93 w 1496"/>
                  <a:gd name="T17" fmla="*/ 50 h 477"/>
                  <a:gd name="T18" fmla="*/ 56 w 1496"/>
                  <a:gd name="T19" fmla="*/ 154 h 477"/>
                  <a:gd name="T20" fmla="*/ 51 w 1496"/>
                  <a:gd name="T21" fmla="*/ 238 h 477"/>
                  <a:gd name="T22" fmla="*/ 56 w 1496"/>
                  <a:gd name="T23" fmla="*/ 322 h 477"/>
                  <a:gd name="T24" fmla="*/ 93 w 1496"/>
                  <a:gd name="T25" fmla="*/ 426 h 477"/>
                  <a:gd name="T26" fmla="*/ 1496 w 1496"/>
                  <a:gd name="T27" fmla="*/ 426 h 477"/>
                  <a:gd name="T28" fmla="*/ 1496 w 1496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96" h="477">
                    <a:moveTo>
                      <a:pt x="1496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1496" y="0"/>
                    </a:lnTo>
                    <a:lnTo>
                      <a:pt x="1496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1496" y="426"/>
                    </a:lnTo>
                    <a:lnTo>
                      <a:pt x="1496" y="477"/>
                    </a:ln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1" name="Freeform 145"/>
              <p:cNvSpPr>
                <a:spLocks/>
              </p:cNvSpPr>
              <p:nvPr/>
            </p:nvSpPr>
            <p:spPr bwMode="auto">
              <a:xfrm>
                <a:off x="897" y="753"/>
                <a:ext cx="145" cy="93"/>
              </a:xfrm>
              <a:custGeom>
                <a:avLst/>
                <a:gdLst>
                  <a:gd name="T0" fmla="*/ 748 w 748"/>
                  <a:gd name="T1" fmla="*/ 477 h 477"/>
                  <a:gd name="T2" fmla="*/ 93 w 748"/>
                  <a:gd name="T3" fmla="*/ 477 h 477"/>
                  <a:gd name="T4" fmla="*/ 6 w 748"/>
                  <a:gd name="T5" fmla="*/ 329 h 477"/>
                  <a:gd name="T6" fmla="*/ 0 w 748"/>
                  <a:gd name="T7" fmla="*/ 238 h 477"/>
                  <a:gd name="T8" fmla="*/ 6 w 748"/>
                  <a:gd name="T9" fmla="*/ 148 h 477"/>
                  <a:gd name="T10" fmla="*/ 93 w 748"/>
                  <a:gd name="T11" fmla="*/ 0 h 477"/>
                  <a:gd name="T12" fmla="*/ 748 w 748"/>
                  <a:gd name="T13" fmla="*/ 0 h 477"/>
                  <a:gd name="T14" fmla="*/ 748 w 748"/>
                  <a:gd name="T15" fmla="*/ 50 h 477"/>
                  <a:gd name="T16" fmla="*/ 93 w 748"/>
                  <a:gd name="T17" fmla="*/ 50 h 477"/>
                  <a:gd name="T18" fmla="*/ 56 w 748"/>
                  <a:gd name="T19" fmla="*/ 154 h 477"/>
                  <a:gd name="T20" fmla="*/ 51 w 748"/>
                  <a:gd name="T21" fmla="*/ 238 h 477"/>
                  <a:gd name="T22" fmla="*/ 56 w 748"/>
                  <a:gd name="T23" fmla="*/ 322 h 477"/>
                  <a:gd name="T24" fmla="*/ 93 w 748"/>
                  <a:gd name="T25" fmla="*/ 426 h 477"/>
                  <a:gd name="T26" fmla="*/ 748 w 748"/>
                  <a:gd name="T27" fmla="*/ 426 h 477"/>
                  <a:gd name="T28" fmla="*/ 748 w 748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8" h="477">
                    <a:moveTo>
                      <a:pt x="748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748" y="0"/>
                    </a:lnTo>
                    <a:lnTo>
                      <a:pt x="748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748" y="426"/>
                    </a:lnTo>
                    <a:lnTo>
                      <a:pt x="748" y="477"/>
                    </a:ln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2" name="Freeform 146"/>
              <p:cNvSpPr>
                <a:spLocks/>
              </p:cNvSpPr>
              <p:nvPr/>
            </p:nvSpPr>
            <p:spPr bwMode="auto">
              <a:xfrm>
                <a:off x="984" y="623"/>
                <a:ext cx="229" cy="73"/>
              </a:xfrm>
              <a:custGeom>
                <a:avLst/>
                <a:gdLst>
                  <a:gd name="T0" fmla="*/ 0 w 1180"/>
                  <a:gd name="T1" fmla="*/ 376 h 376"/>
                  <a:gd name="T2" fmla="*/ 1106 w 1180"/>
                  <a:gd name="T3" fmla="*/ 376 h 376"/>
                  <a:gd name="T4" fmla="*/ 1176 w 1180"/>
                  <a:gd name="T5" fmla="*/ 260 h 376"/>
                  <a:gd name="T6" fmla="*/ 1180 w 1180"/>
                  <a:gd name="T7" fmla="*/ 188 h 376"/>
                  <a:gd name="T8" fmla="*/ 1176 w 1180"/>
                  <a:gd name="T9" fmla="*/ 117 h 376"/>
                  <a:gd name="T10" fmla="*/ 1106 w 1180"/>
                  <a:gd name="T11" fmla="*/ 0 h 376"/>
                  <a:gd name="T12" fmla="*/ 0 w 1180"/>
                  <a:gd name="T13" fmla="*/ 0 h 376"/>
                  <a:gd name="T14" fmla="*/ 0 w 1180"/>
                  <a:gd name="T15" fmla="*/ 40 h 376"/>
                  <a:gd name="T16" fmla="*/ 1106 w 1180"/>
                  <a:gd name="T17" fmla="*/ 40 h 376"/>
                  <a:gd name="T18" fmla="*/ 1136 w 1180"/>
                  <a:gd name="T19" fmla="*/ 122 h 376"/>
                  <a:gd name="T20" fmla="*/ 1140 w 1180"/>
                  <a:gd name="T21" fmla="*/ 188 h 376"/>
                  <a:gd name="T22" fmla="*/ 1136 w 1180"/>
                  <a:gd name="T23" fmla="*/ 255 h 376"/>
                  <a:gd name="T24" fmla="*/ 1106 w 1180"/>
                  <a:gd name="T25" fmla="*/ 336 h 376"/>
                  <a:gd name="T26" fmla="*/ 0 w 1180"/>
                  <a:gd name="T27" fmla="*/ 336 h 376"/>
                  <a:gd name="T28" fmla="*/ 0 w 1180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0" h="376">
                    <a:moveTo>
                      <a:pt x="0" y="376"/>
                    </a:moveTo>
                    <a:lnTo>
                      <a:pt x="1106" y="376"/>
                    </a:lnTo>
                    <a:cubicBezTo>
                      <a:pt x="1144" y="376"/>
                      <a:pt x="1167" y="325"/>
                      <a:pt x="1176" y="260"/>
                    </a:cubicBezTo>
                    <a:cubicBezTo>
                      <a:pt x="1178" y="237"/>
                      <a:pt x="1180" y="212"/>
                      <a:pt x="1180" y="188"/>
                    </a:cubicBezTo>
                    <a:cubicBezTo>
                      <a:pt x="1180" y="164"/>
                      <a:pt x="1178" y="140"/>
                      <a:pt x="1176" y="117"/>
                    </a:cubicBezTo>
                    <a:cubicBezTo>
                      <a:pt x="1167" y="51"/>
                      <a:pt x="1144" y="0"/>
                      <a:pt x="1106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1106" y="40"/>
                    </a:lnTo>
                    <a:cubicBezTo>
                      <a:pt x="1120" y="40"/>
                      <a:pt x="1130" y="76"/>
                      <a:pt x="1136" y="122"/>
                    </a:cubicBezTo>
                    <a:cubicBezTo>
                      <a:pt x="1139" y="142"/>
                      <a:pt x="1140" y="165"/>
                      <a:pt x="1140" y="188"/>
                    </a:cubicBezTo>
                    <a:cubicBezTo>
                      <a:pt x="1140" y="211"/>
                      <a:pt x="1139" y="234"/>
                      <a:pt x="1136" y="255"/>
                    </a:cubicBezTo>
                    <a:cubicBezTo>
                      <a:pt x="1130" y="300"/>
                      <a:pt x="1120" y="336"/>
                      <a:pt x="1106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3" name="Freeform 147"/>
              <p:cNvSpPr>
                <a:spLocks/>
              </p:cNvSpPr>
              <p:nvPr/>
            </p:nvSpPr>
            <p:spPr bwMode="auto">
              <a:xfrm>
                <a:off x="1096" y="623"/>
                <a:ext cx="117" cy="73"/>
              </a:xfrm>
              <a:custGeom>
                <a:avLst/>
                <a:gdLst>
                  <a:gd name="T0" fmla="*/ 0 w 602"/>
                  <a:gd name="T1" fmla="*/ 376 h 376"/>
                  <a:gd name="T2" fmla="*/ 528 w 602"/>
                  <a:gd name="T3" fmla="*/ 376 h 376"/>
                  <a:gd name="T4" fmla="*/ 598 w 602"/>
                  <a:gd name="T5" fmla="*/ 260 h 376"/>
                  <a:gd name="T6" fmla="*/ 602 w 602"/>
                  <a:gd name="T7" fmla="*/ 188 h 376"/>
                  <a:gd name="T8" fmla="*/ 598 w 602"/>
                  <a:gd name="T9" fmla="*/ 117 h 376"/>
                  <a:gd name="T10" fmla="*/ 528 w 602"/>
                  <a:gd name="T11" fmla="*/ 0 h 376"/>
                  <a:gd name="T12" fmla="*/ 0 w 602"/>
                  <a:gd name="T13" fmla="*/ 0 h 376"/>
                  <a:gd name="T14" fmla="*/ 0 w 602"/>
                  <a:gd name="T15" fmla="*/ 40 h 376"/>
                  <a:gd name="T16" fmla="*/ 528 w 602"/>
                  <a:gd name="T17" fmla="*/ 40 h 376"/>
                  <a:gd name="T18" fmla="*/ 558 w 602"/>
                  <a:gd name="T19" fmla="*/ 122 h 376"/>
                  <a:gd name="T20" fmla="*/ 562 w 602"/>
                  <a:gd name="T21" fmla="*/ 188 h 376"/>
                  <a:gd name="T22" fmla="*/ 558 w 602"/>
                  <a:gd name="T23" fmla="*/ 255 h 376"/>
                  <a:gd name="T24" fmla="*/ 528 w 602"/>
                  <a:gd name="T25" fmla="*/ 336 h 376"/>
                  <a:gd name="T26" fmla="*/ 0 w 602"/>
                  <a:gd name="T27" fmla="*/ 336 h 376"/>
                  <a:gd name="T28" fmla="*/ 0 w 602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2" h="376">
                    <a:moveTo>
                      <a:pt x="0" y="376"/>
                    </a:moveTo>
                    <a:lnTo>
                      <a:pt x="528" y="376"/>
                    </a:lnTo>
                    <a:cubicBezTo>
                      <a:pt x="566" y="376"/>
                      <a:pt x="589" y="325"/>
                      <a:pt x="598" y="260"/>
                    </a:cubicBezTo>
                    <a:cubicBezTo>
                      <a:pt x="600" y="237"/>
                      <a:pt x="602" y="212"/>
                      <a:pt x="602" y="188"/>
                    </a:cubicBezTo>
                    <a:cubicBezTo>
                      <a:pt x="602" y="164"/>
                      <a:pt x="600" y="140"/>
                      <a:pt x="598" y="117"/>
                    </a:cubicBezTo>
                    <a:cubicBezTo>
                      <a:pt x="589" y="51"/>
                      <a:pt x="566" y="0"/>
                      <a:pt x="528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528" y="40"/>
                    </a:lnTo>
                    <a:cubicBezTo>
                      <a:pt x="542" y="40"/>
                      <a:pt x="552" y="76"/>
                      <a:pt x="558" y="122"/>
                    </a:cubicBezTo>
                    <a:cubicBezTo>
                      <a:pt x="561" y="142"/>
                      <a:pt x="562" y="165"/>
                      <a:pt x="562" y="188"/>
                    </a:cubicBezTo>
                    <a:cubicBezTo>
                      <a:pt x="562" y="211"/>
                      <a:pt x="561" y="234"/>
                      <a:pt x="558" y="255"/>
                    </a:cubicBezTo>
                    <a:cubicBezTo>
                      <a:pt x="552" y="300"/>
                      <a:pt x="542" y="336"/>
                      <a:pt x="528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4" name="Freeform 148"/>
              <p:cNvSpPr>
                <a:spLocks/>
              </p:cNvSpPr>
              <p:nvPr/>
            </p:nvSpPr>
            <p:spPr bwMode="auto">
              <a:xfrm>
                <a:off x="916" y="106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4 h 360"/>
                  <a:gd name="T6" fmla="*/ 1708 w 1708"/>
                  <a:gd name="T7" fmla="*/ 133 h 360"/>
                  <a:gd name="T8" fmla="*/ 1155 w 1708"/>
                  <a:gd name="T9" fmla="*/ 133 h 360"/>
                  <a:gd name="T10" fmla="*/ 1155 w 1708"/>
                  <a:gd name="T11" fmla="*/ 151 h 360"/>
                  <a:gd name="T12" fmla="*/ 1155 w 1708"/>
                  <a:gd name="T13" fmla="*/ 169 h 360"/>
                  <a:gd name="T14" fmla="*/ 1155 w 1708"/>
                  <a:gd name="T15" fmla="*/ 187 h 360"/>
                  <a:gd name="T16" fmla="*/ 1155 w 1708"/>
                  <a:gd name="T17" fmla="*/ 205 h 360"/>
                  <a:gd name="T18" fmla="*/ 1155 w 1708"/>
                  <a:gd name="T19" fmla="*/ 223 h 360"/>
                  <a:gd name="T20" fmla="*/ 1155 w 1708"/>
                  <a:gd name="T21" fmla="*/ 241 h 360"/>
                  <a:gd name="T22" fmla="*/ 1155 w 1708"/>
                  <a:gd name="T23" fmla="*/ 259 h 360"/>
                  <a:gd name="T24" fmla="*/ 1155 w 1708"/>
                  <a:gd name="T25" fmla="*/ 277 h 360"/>
                  <a:gd name="T26" fmla="*/ 1155 w 1708"/>
                  <a:gd name="T27" fmla="*/ 295 h 360"/>
                  <a:gd name="T28" fmla="*/ 1155 w 1708"/>
                  <a:gd name="T29" fmla="*/ 313 h 360"/>
                  <a:gd name="T30" fmla="*/ 1155 w 1708"/>
                  <a:gd name="T31" fmla="*/ 331 h 360"/>
                  <a:gd name="T32" fmla="*/ 1155 w 1708"/>
                  <a:gd name="T33" fmla="*/ 349 h 360"/>
                  <a:gd name="T34" fmla="*/ 1155 w 1708"/>
                  <a:gd name="T35" fmla="*/ 360 h 360"/>
                  <a:gd name="T36" fmla="*/ 1119 w 1708"/>
                  <a:gd name="T37" fmla="*/ 360 h 360"/>
                  <a:gd name="T38" fmla="*/ 24 w 1708"/>
                  <a:gd name="T39" fmla="*/ 360 h 360"/>
                  <a:gd name="T40" fmla="*/ 0 w 1708"/>
                  <a:gd name="T41" fmla="*/ 335 h 360"/>
                  <a:gd name="T42" fmla="*/ 0 w 1708"/>
                  <a:gd name="T43" fmla="*/ 24 h 360"/>
                  <a:gd name="T44" fmla="*/ 24 w 1708"/>
                  <a:gd name="T45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4"/>
                    </a:cubicBezTo>
                    <a:lnTo>
                      <a:pt x="1708" y="133"/>
                    </a:lnTo>
                    <a:lnTo>
                      <a:pt x="1155" y="133"/>
                    </a:lnTo>
                    <a:lnTo>
                      <a:pt x="1155" y="151"/>
                    </a:lnTo>
                    <a:lnTo>
                      <a:pt x="1155" y="169"/>
                    </a:lnTo>
                    <a:lnTo>
                      <a:pt x="1155" y="187"/>
                    </a:lnTo>
                    <a:lnTo>
                      <a:pt x="1155" y="205"/>
                    </a:lnTo>
                    <a:lnTo>
                      <a:pt x="1155" y="223"/>
                    </a:lnTo>
                    <a:lnTo>
                      <a:pt x="1155" y="241"/>
                    </a:lnTo>
                    <a:lnTo>
                      <a:pt x="1155" y="259"/>
                    </a:lnTo>
                    <a:lnTo>
                      <a:pt x="1155" y="277"/>
                    </a:lnTo>
                    <a:lnTo>
                      <a:pt x="1155" y="295"/>
                    </a:lnTo>
                    <a:lnTo>
                      <a:pt x="1155" y="313"/>
                    </a:lnTo>
                    <a:lnTo>
                      <a:pt x="1155" y="331"/>
                    </a:lnTo>
                    <a:lnTo>
                      <a:pt x="1155" y="349"/>
                    </a:lnTo>
                    <a:lnTo>
                      <a:pt x="1155" y="360"/>
                    </a:lnTo>
                    <a:lnTo>
                      <a:pt x="1119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5" name="Freeform 149"/>
              <p:cNvSpPr>
                <a:spLocks/>
              </p:cNvSpPr>
              <p:nvPr/>
            </p:nvSpPr>
            <p:spPr bwMode="auto">
              <a:xfrm>
                <a:off x="916" y="106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4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6" name="Rectangle 150"/>
              <p:cNvSpPr>
                <a:spLocks noChangeArrowheads="1"/>
              </p:cNvSpPr>
              <p:nvPr/>
            </p:nvSpPr>
            <p:spPr bwMode="auto">
              <a:xfrm>
                <a:off x="1192" y="1065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7" name="Rectangle 151"/>
              <p:cNvSpPr>
                <a:spLocks noChangeArrowheads="1"/>
              </p:cNvSpPr>
              <p:nvPr/>
            </p:nvSpPr>
            <p:spPr bwMode="auto">
              <a:xfrm>
                <a:off x="949" y="1065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8" name="Rectangle 152"/>
              <p:cNvSpPr>
                <a:spLocks noChangeArrowheads="1"/>
              </p:cNvSpPr>
              <p:nvPr/>
            </p:nvSpPr>
            <p:spPr bwMode="auto">
              <a:xfrm>
                <a:off x="1181" y="1065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9" name="Rectangle 153"/>
              <p:cNvSpPr>
                <a:spLocks noChangeArrowheads="1"/>
              </p:cNvSpPr>
              <p:nvPr/>
            </p:nvSpPr>
            <p:spPr bwMode="auto">
              <a:xfrm>
                <a:off x="938" y="1065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0" name="Freeform 154"/>
              <p:cNvSpPr>
                <a:spLocks/>
              </p:cNvSpPr>
              <p:nvPr/>
            </p:nvSpPr>
            <p:spPr bwMode="auto">
              <a:xfrm>
                <a:off x="896" y="991"/>
                <a:ext cx="331" cy="70"/>
              </a:xfrm>
              <a:custGeom>
                <a:avLst/>
                <a:gdLst>
                  <a:gd name="T0" fmla="*/ 25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5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5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5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1" name="Freeform 155"/>
              <p:cNvSpPr>
                <a:spLocks/>
              </p:cNvSpPr>
              <p:nvPr/>
            </p:nvSpPr>
            <p:spPr bwMode="auto">
              <a:xfrm>
                <a:off x="896" y="991"/>
                <a:ext cx="166" cy="70"/>
              </a:xfrm>
              <a:custGeom>
                <a:avLst/>
                <a:gdLst>
                  <a:gd name="T0" fmla="*/ 25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5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5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5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2" name="Rectangle 156"/>
              <p:cNvSpPr>
                <a:spLocks noChangeArrowheads="1"/>
              </p:cNvSpPr>
              <p:nvPr/>
            </p:nvSpPr>
            <p:spPr bwMode="auto">
              <a:xfrm>
                <a:off x="1172" y="995"/>
                <a:ext cx="28" cy="6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3" name="Rectangle 157"/>
              <p:cNvSpPr>
                <a:spLocks noChangeArrowheads="1"/>
              </p:cNvSpPr>
              <p:nvPr/>
            </p:nvSpPr>
            <p:spPr bwMode="auto">
              <a:xfrm>
                <a:off x="929" y="995"/>
                <a:ext cx="28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4" name="Rectangle 158"/>
              <p:cNvSpPr>
                <a:spLocks noChangeArrowheads="1"/>
              </p:cNvSpPr>
              <p:nvPr/>
            </p:nvSpPr>
            <p:spPr bwMode="auto">
              <a:xfrm>
                <a:off x="1161" y="995"/>
                <a:ext cx="7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5" name="Rectangle 159"/>
              <p:cNvSpPr>
                <a:spLocks noChangeArrowheads="1"/>
              </p:cNvSpPr>
              <p:nvPr/>
            </p:nvSpPr>
            <p:spPr bwMode="auto">
              <a:xfrm>
                <a:off x="918" y="995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6" name="Freeform 160"/>
              <p:cNvSpPr>
                <a:spLocks/>
              </p:cNvSpPr>
              <p:nvPr/>
            </p:nvSpPr>
            <p:spPr bwMode="auto">
              <a:xfrm>
                <a:off x="916" y="92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4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4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7" name="Freeform 161"/>
              <p:cNvSpPr>
                <a:spLocks/>
              </p:cNvSpPr>
              <p:nvPr/>
            </p:nvSpPr>
            <p:spPr bwMode="auto">
              <a:xfrm>
                <a:off x="916" y="92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8" name="Rectangle 162"/>
              <p:cNvSpPr>
                <a:spLocks noChangeArrowheads="1"/>
              </p:cNvSpPr>
              <p:nvPr/>
            </p:nvSpPr>
            <p:spPr bwMode="auto">
              <a:xfrm>
                <a:off x="1192" y="926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9" name="Rectangle 163"/>
              <p:cNvSpPr>
                <a:spLocks noChangeArrowheads="1"/>
              </p:cNvSpPr>
              <p:nvPr/>
            </p:nvSpPr>
            <p:spPr bwMode="auto">
              <a:xfrm>
                <a:off x="949" y="926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0" name="Rectangle 164"/>
              <p:cNvSpPr>
                <a:spLocks noChangeArrowheads="1"/>
              </p:cNvSpPr>
              <p:nvPr/>
            </p:nvSpPr>
            <p:spPr bwMode="auto">
              <a:xfrm>
                <a:off x="1181" y="926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1" name="Rectangle 165"/>
              <p:cNvSpPr>
                <a:spLocks noChangeArrowheads="1"/>
              </p:cNvSpPr>
              <p:nvPr/>
            </p:nvSpPr>
            <p:spPr bwMode="auto">
              <a:xfrm>
                <a:off x="938" y="926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2" name="Freeform 166"/>
              <p:cNvSpPr>
                <a:spLocks/>
              </p:cNvSpPr>
              <p:nvPr/>
            </p:nvSpPr>
            <p:spPr bwMode="auto">
              <a:xfrm>
                <a:off x="874" y="1131"/>
                <a:ext cx="284" cy="80"/>
              </a:xfrm>
              <a:custGeom>
                <a:avLst/>
                <a:gdLst>
                  <a:gd name="T0" fmla="*/ 29 w 1461"/>
                  <a:gd name="T1" fmla="*/ 0 h 416"/>
                  <a:gd name="T2" fmla="*/ 1334 w 1461"/>
                  <a:gd name="T3" fmla="*/ 0 h 416"/>
                  <a:gd name="T4" fmla="*/ 1334 w 1461"/>
                  <a:gd name="T5" fmla="*/ 50 h 416"/>
                  <a:gd name="T6" fmla="*/ 1370 w 1461"/>
                  <a:gd name="T7" fmla="*/ 50 h 416"/>
                  <a:gd name="T8" fmla="*/ 1461 w 1461"/>
                  <a:gd name="T9" fmla="*/ 50 h 416"/>
                  <a:gd name="T10" fmla="*/ 1383 w 1461"/>
                  <a:gd name="T11" fmla="*/ 172 h 416"/>
                  <a:gd name="T12" fmla="*/ 1379 w 1461"/>
                  <a:gd name="T13" fmla="*/ 242 h 416"/>
                  <a:gd name="T14" fmla="*/ 1383 w 1461"/>
                  <a:gd name="T15" fmla="*/ 311 h 416"/>
                  <a:gd name="T16" fmla="*/ 1423 w 1461"/>
                  <a:gd name="T17" fmla="*/ 416 h 416"/>
                  <a:gd name="T18" fmla="*/ 29 w 1461"/>
                  <a:gd name="T19" fmla="*/ 416 h 416"/>
                  <a:gd name="T20" fmla="*/ 0 w 1461"/>
                  <a:gd name="T21" fmla="*/ 388 h 416"/>
                  <a:gd name="T22" fmla="*/ 0 w 1461"/>
                  <a:gd name="T23" fmla="*/ 28 h 416"/>
                  <a:gd name="T24" fmla="*/ 29 w 1461"/>
                  <a:gd name="T25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1" h="416">
                    <a:moveTo>
                      <a:pt x="29" y="0"/>
                    </a:moveTo>
                    <a:lnTo>
                      <a:pt x="1334" y="0"/>
                    </a:lnTo>
                    <a:lnTo>
                      <a:pt x="1334" y="50"/>
                    </a:lnTo>
                    <a:lnTo>
                      <a:pt x="1370" y="50"/>
                    </a:lnTo>
                    <a:lnTo>
                      <a:pt x="1461" y="50"/>
                    </a:lnTo>
                    <a:cubicBezTo>
                      <a:pt x="1417" y="50"/>
                      <a:pt x="1392" y="103"/>
                      <a:pt x="1383" y="172"/>
                    </a:cubicBezTo>
                    <a:cubicBezTo>
                      <a:pt x="1380" y="194"/>
                      <a:pt x="1379" y="218"/>
                      <a:pt x="1379" y="242"/>
                    </a:cubicBezTo>
                    <a:cubicBezTo>
                      <a:pt x="1379" y="265"/>
                      <a:pt x="1380" y="289"/>
                      <a:pt x="1383" y="311"/>
                    </a:cubicBezTo>
                    <a:cubicBezTo>
                      <a:pt x="1389" y="357"/>
                      <a:pt x="1402" y="395"/>
                      <a:pt x="1423" y="416"/>
                    </a:cubicBez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3" name="Freeform 167"/>
              <p:cNvSpPr>
                <a:spLocks/>
              </p:cNvSpPr>
              <p:nvPr/>
            </p:nvSpPr>
            <p:spPr bwMode="auto">
              <a:xfrm>
                <a:off x="874" y="1131"/>
                <a:ext cx="192" cy="80"/>
              </a:xfrm>
              <a:custGeom>
                <a:avLst/>
                <a:gdLst>
                  <a:gd name="T0" fmla="*/ 29 w 989"/>
                  <a:gd name="T1" fmla="*/ 0 h 416"/>
                  <a:gd name="T2" fmla="*/ 989 w 989"/>
                  <a:gd name="T3" fmla="*/ 0 h 416"/>
                  <a:gd name="T4" fmla="*/ 989 w 989"/>
                  <a:gd name="T5" fmla="*/ 416 h 416"/>
                  <a:gd name="T6" fmla="*/ 29 w 989"/>
                  <a:gd name="T7" fmla="*/ 416 h 416"/>
                  <a:gd name="T8" fmla="*/ 0 w 989"/>
                  <a:gd name="T9" fmla="*/ 388 h 416"/>
                  <a:gd name="T10" fmla="*/ 0 w 989"/>
                  <a:gd name="T11" fmla="*/ 28 h 416"/>
                  <a:gd name="T12" fmla="*/ 29 w 989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9" h="416">
                    <a:moveTo>
                      <a:pt x="29" y="0"/>
                    </a:moveTo>
                    <a:lnTo>
                      <a:pt x="989" y="0"/>
                    </a:lnTo>
                    <a:lnTo>
                      <a:pt x="989" y="416"/>
                    </a:ln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4" name="Rectangle 168"/>
              <p:cNvSpPr>
                <a:spLocks noChangeArrowheads="1"/>
              </p:cNvSpPr>
              <p:nvPr/>
            </p:nvSpPr>
            <p:spPr bwMode="auto">
              <a:xfrm>
                <a:off x="912" y="1136"/>
                <a:ext cx="33" cy="7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5" name="Rectangle 169"/>
              <p:cNvSpPr>
                <a:spLocks noChangeArrowheads="1"/>
              </p:cNvSpPr>
              <p:nvPr/>
            </p:nvSpPr>
            <p:spPr bwMode="auto">
              <a:xfrm>
                <a:off x="900" y="1136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6" name="Freeform 170"/>
              <p:cNvSpPr>
                <a:spLocks/>
              </p:cNvSpPr>
              <p:nvPr/>
            </p:nvSpPr>
            <p:spPr bwMode="auto">
              <a:xfrm>
                <a:off x="1066" y="1151"/>
                <a:ext cx="80" cy="40"/>
              </a:xfrm>
              <a:custGeom>
                <a:avLst/>
                <a:gdLst>
                  <a:gd name="T0" fmla="*/ 0 w 409"/>
                  <a:gd name="T1" fmla="*/ 0 h 202"/>
                  <a:gd name="T2" fmla="*/ 409 w 409"/>
                  <a:gd name="T3" fmla="*/ 0 h 202"/>
                  <a:gd name="T4" fmla="*/ 394 w 409"/>
                  <a:gd name="T5" fmla="*/ 65 h 202"/>
                  <a:gd name="T6" fmla="*/ 390 w 409"/>
                  <a:gd name="T7" fmla="*/ 135 h 202"/>
                  <a:gd name="T8" fmla="*/ 394 w 409"/>
                  <a:gd name="T9" fmla="*/ 202 h 202"/>
                  <a:gd name="T10" fmla="*/ 0 w 409"/>
                  <a:gd name="T11" fmla="*/ 202 h 202"/>
                  <a:gd name="T12" fmla="*/ 0 w 409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02">
                    <a:moveTo>
                      <a:pt x="0" y="0"/>
                    </a:moveTo>
                    <a:lnTo>
                      <a:pt x="409" y="0"/>
                    </a:lnTo>
                    <a:cubicBezTo>
                      <a:pt x="402" y="19"/>
                      <a:pt x="397" y="41"/>
                      <a:pt x="394" y="65"/>
                    </a:cubicBezTo>
                    <a:cubicBezTo>
                      <a:pt x="391" y="87"/>
                      <a:pt x="390" y="111"/>
                      <a:pt x="390" y="135"/>
                    </a:cubicBezTo>
                    <a:cubicBezTo>
                      <a:pt x="390" y="157"/>
                      <a:pt x="391" y="180"/>
                      <a:pt x="394" y="202"/>
                    </a:cubicBezTo>
                    <a:lnTo>
                      <a:pt x="0" y="2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7" name="Rectangle 171"/>
              <p:cNvSpPr>
                <a:spLocks noChangeArrowheads="1"/>
              </p:cNvSpPr>
              <p:nvPr/>
            </p:nvSpPr>
            <p:spPr bwMode="auto">
              <a:xfrm>
                <a:off x="966" y="1151"/>
                <a:ext cx="100" cy="40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8" name="Rectangle 172"/>
              <p:cNvSpPr>
                <a:spLocks noChangeArrowheads="1"/>
              </p:cNvSpPr>
              <p:nvPr/>
            </p:nvSpPr>
            <p:spPr bwMode="auto">
              <a:xfrm>
                <a:off x="1082" y="94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9" name="Rectangle 173"/>
              <p:cNvSpPr>
                <a:spLocks noChangeArrowheads="1"/>
              </p:cNvSpPr>
              <p:nvPr/>
            </p:nvSpPr>
            <p:spPr bwMode="auto">
              <a:xfrm>
                <a:off x="1010" y="94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0" name="Rectangle 174"/>
              <p:cNvSpPr>
                <a:spLocks noChangeArrowheads="1"/>
              </p:cNvSpPr>
              <p:nvPr/>
            </p:nvSpPr>
            <p:spPr bwMode="auto">
              <a:xfrm>
                <a:off x="1062" y="101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1" name="Rectangle 175"/>
              <p:cNvSpPr>
                <a:spLocks noChangeArrowheads="1"/>
              </p:cNvSpPr>
              <p:nvPr/>
            </p:nvSpPr>
            <p:spPr bwMode="auto">
              <a:xfrm>
                <a:off x="990" y="101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2" name="Rectangle 176"/>
              <p:cNvSpPr>
                <a:spLocks noChangeArrowheads="1"/>
              </p:cNvSpPr>
              <p:nvPr/>
            </p:nvSpPr>
            <p:spPr bwMode="auto">
              <a:xfrm>
                <a:off x="1146" y="115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3" name="Rectangle 177"/>
              <p:cNvSpPr>
                <a:spLocks noChangeArrowheads="1"/>
              </p:cNvSpPr>
              <p:nvPr/>
            </p:nvSpPr>
            <p:spPr bwMode="auto">
              <a:xfrm>
                <a:off x="1146" y="1160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4" name="Rectangle 178"/>
              <p:cNvSpPr>
                <a:spLocks noChangeArrowheads="1"/>
              </p:cNvSpPr>
              <p:nvPr/>
            </p:nvSpPr>
            <p:spPr bwMode="auto">
              <a:xfrm>
                <a:off x="1146" y="1168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5" name="Rectangle 179"/>
              <p:cNvSpPr>
                <a:spLocks noChangeArrowheads="1"/>
              </p:cNvSpPr>
              <p:nvPr/>
            </p:nvSpPr>
            <p:spPr bwMode="auto">
              <a:xfrm>
                <a:off x="1146" y="117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6" name="Rectangle 180"/>
              <p:cNvSpPr>
                <a:spLocks noChangeArrowheads="1"/>
              </p:cNvSpPr>
              <p:nvPr/>
            </p:nvSpPr>
            <p:spPr bwMode="auto">
              <a:xfrm>
                <a:off x="1146" y="118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7" name="Rectangle 181"/>
              <p:cNvSpPr>
                <a:spLocks noChangeArrowheads="1"/>
              </p:cNvSpPr>
              <p:nvPr/>
            </p:nvSpPr>
            <p:spPr bwMode="auto">
              <a:xfrm>
                <a:off x="1146" y="119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8" name="Rectangle 182"/>
              <p:cNvSpPr>
                <a:spLocks noChangeArrowheads="1"/>
              </p:cNvSpPr>
              <p:nvPr/>
            </p:nvSpPr>
            <p:spPr bwMode="auto">
              <a:xfrm>
                <a:off x="1146" y="115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9" name="Rectangle 183"/>
              <p:cNvSpPr>
                <a:spLocks noChangeArrowheads="1"/>
              </p:cNvSpPr>
              <p:nvPr/>
            </p:nvSpPr>
            <p:spPr bwMode="auto">
              <a:xfrm>
                <a:off x="1146" y="1164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0" name="Rectangle 184"/>
              <p:cNvSpPr>
                <a:spLocks noChangeArrowheads="1"/>
              </p:cNvSpPr>
              <p:nvPr/>
            </p:nvSpPr>
            <p:spPr bwMode="auto">
              <a:xfrm>
                <a:off x="1146" y="1172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1" name="Rectangle 185"/>
              <p:cNvSpPr>
                <a:spLocks noChangeArrowheads="1"/>
              </p:cNvSpPr>
              <p:nvPr/>
            </p:nvSpPr>
            <p:spPr bwMode="auto">
              <a:xfrm>
                <a:off x="1146" y="118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2" name="Rectangle 186"/>
              <p:cNvSpPr>
                <a:spLocks noChangeArrowheads="1"/>
              </p:cNvSpPr>
              <p:nvPr/>
            </p:nvSpPr>
            <p:spPr bwMode="auto">
              <a:xfrm>
                <a:off x="1146" y="118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3" name="Rectangle 187"/>
              <p:cNvSpPr>
                <a:spLocks noChangeArrowheads="1"/>
              </p:cNvSpPr>
              <p:nvPr/>
            </p:nvSpPr>
            <p:spPr bwMode="auto">
              <a:xfrm>
                <a:off x="1146" y="119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4" name="Rectangle 188"/>
              <p:cNvSpPr>
                <a:spLocks noChangeArrowheads="1"/>
              </p:cNvSpPr>
              <p:nvPr/>
            </p:nvSpPr>
            <p:spPr bwMode="auto">
              <a:xfrm>
                <a:off x="1146" y="1200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5" name="Freeform 189"/>
              <p:cNvSpPr>
                <a:spLocks/>
              </p:cNvSpPr>
              <p:nvPr/>
            </p:nvSpPr>
            <p:spPr bwMode="auto">
              <a:xfrm>
                <a:off x="1327" y="1152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30 w 930"/>
                  <a:gd name="T3" fmla="*/ 0 h 21"/>
                  <a:gd name="T4" fmla="*/ 923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27" y="7"/>
                      <a:pt x="925" y="14"/>
                      <a:pt x="92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6" name="Freeform 190"/>
              <p:cNvSpPr>
                <a:spLocks/>
              </p:cNvSpPr>
              <p:nvPr/>
            </p:nvSpPr>
            <p:spPr bwMode="auto">
              <a:xfrm>
                <a:off x="1327" y="1160"/>
                <a:ext cx="178" cy="4"/>
              </a:xfrm>
              <a:custGeom>
                <a:avLst/>
                <a:gdLst>
                  <a:gd name="T0" fmla="*/ 0 w 919"/>
                  <a:gd name="T1" fmla="*/ 0 h 20"/>
                  <a:gd name="T2" fmla="*/ 919 w 919"/>
                  <a:gd name="T3" fmla="*/ 0 h 20"/>
                  <a:gd name="T4" fmla="*/ 916 w 919"/>
                  <a:gd name="T5" fmla="*/ 20 h 20"/>
                  <a:gd name="T6" fmla="*/ 916 w 919"/>
                  <a:gd name="T7" fmla="*/ 20 h 20"/>
                  <a:gd name="T8" fmla="*/ 0 w 919"/>
                  <a:gd name="T9" fmla="*/ 20 h 20"/>
                  <a:gd name="T10" fmla="*/ 0 w 91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9" h="20">
                    <a:moveTo>
                      <a:pt x="0" y="0"/>
                    </a:moveTo>
                    <a:lnTo>
                      <a:pt x="919" y="0"/>
                    </a:lnTo>
                    <a:cubicBezTo>
                      <a:pt x="918" y="6"/>
                      <a:pt x="917" y="13"/>
                      <a:pt x="916" y="20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7" name="Freeform 191"/>
              <p:cNvSpPr>
                <a:spLocks/>
              </p:cNvSpPr>
              <p:nvPr/>
            </p:nvSpPr>
            <p:spPr bwMode="auto">
              <a:xfrm>
                <a:off x="1327" y="1168"/>
                <a:ext cx="177" cy="4"/>
              </a:xfrm>
              <a:custGeom>
                <a:avLst/>
                <a:gdLst>
                  <a:gd name="T0" fmla="*/ 0 w 913"/>
                  <a:gd name="T1" fmla="*/ 0 h 21"/>
                  <a:gd name="T2" fmla="*/ 913 w 913"/>
                  <a:gd name="T3" fmla="*/ 0 h 21"/>
                  <a:gd name="T4" fmla="*/ 912 w 913"/>
                  <a:gd name="T5" fmla="*/ 21 h 21"/>
                  <a:gd name="T6" fmla="*/ 0 w 913"/>
                  <a:gd name="T7" fmla="*/ 21 h 21"/>
                  <a:gd name="T8" fmla="*/ 0 w 9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21">
                    <a:moveTo>
                      <a:pt x="0" y="0"/>
                    </a:moveTo>
                    <a:lnTo>
                      <a:pt x="913" y="0"/>
                    </a:lnTo>
                    <a:cubicBezTo>
                      <a:pt x="913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8" name="Freeform 192"/>
              <p:cNvSpPr>
                <a:spLocks/>
              </p:cNvSpPr>
              <p:nvPr/>
            </p:nvSpPr>
            <p:spPr bwMode="auto">
              <a:xfrm>
                <a:off x="1327" y="1176"/>
                <a:ext cx="177" cy="4"/>
              </a:xfrm>
              <a:custGeom>
                <a:avLst/>
                <a:gdLst>
                  <a:gd name="T0" fmla="*/ 0 w 911"/>
                  <a:gd name="T1" fmla="*/ 0 h 20"/>
                  <a:gd name="T2" fmla="*/ 911 w 911"/>
                  <a:gd name="T3" fmla="*/ 0 h 20"/>
                  <a:gd name="T4" fmla="*/ 911 w 911"/>
                  <a:gd name="T5" fmla="*/ 7 h 20"/>
                  <a:gd name="T6" fmla="*/ 911 w 911"/>
                  <a:gd name="T7" fmla="*/ 20 h 20"/>
                  <a:gd name="T8" fmla="*/ 0 w 911"/>
                  <a:gd name="T9" fmla="*/ 20 h 20"/>
                  <a:gd name="T10" fmla="*/ 0 w 91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1" h="20">
                    <a:moveTo>
                      <a:pt x="0" y="0"/>
                    </a:moveTo>
                    <a:lnTo>
                      <a:pt x="911" y="0"/>
                    </a:lnTo>
                    <a:lnTo>
                      <a:pt x="911" y="7"/>
                    </a:lnTo>
                    <a:cubicBezTo>
                      <a:pt x="911" y="11"/>
                      <a:pt x="911" y="16"/>
                      <a:pt x="911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9" name="Freeform 193"/>
              <p:cNvSpPr>
                <a:spLocks/>
              </p:cNvSpPr>
              <p:nvPr/>
            </p:nvSpPr>
            <p:spPr bwMode="auto">
              <a:xfrm>
                <a:off x="1327" y="1184"/>
                <a:ext cx="178" cy="4"/>
              </a:xfrm>
              <a:custGeom>
                <a:avLst/>
                <a:gdLst>
                  <a:gd name="T0" fmla="*/ 0 w 914"/>
                  <a:gd name="T1" fmla="*/ 0 h 21"/>
                  <a:gd name="T2" fmla="*/ 912 w 914"/>
                  <a:gd name="T3" fmla="*/ 0 h 21"/>
                  <a:gd name="T4" fmla="*/ 914 w 914"/>
                  <a:gd name="T5" fmla="*/ 21 h 21"/>
                  <a:gd name="T6" fmla="*/ 0 w 914"/>
                  <a:gd name="T7" fmla="*/ 21 h 21"/>
                  <a:gd name="T8" fmla="*/ 0 w 91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4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3" y="7"/>
                      <a:pt x="913" y="14"/>
                      <a:pt x="914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0" name="Freeform 194"/>
              <p:cNvSpPr>
                <a:spLocks/>
              </p:cNvSpPr>
              <p:nvPr/>
            </p:nvSpPr>
            <p:spPr bwMode="auto">
              <a:xfrm>
                <a:off x="1327" y="1192"/>
                <a:ext cx="179" cy="4"/>
              </a:xfrm>
              <a:custGeom>
                <a:avLst/>
                <a:gdLst>
                  <a:gd name="T0" fmla="*/ 0 w 920"/>
                  <a:gd name="T1" fmla="*/ 0 h 21"/>
                  <a:gd name="T2" fmla="*/ 916 w 920"/>
                  <a:gd name="T3" fmla="*/ 0 h 21"/>
                  <a:gd name="T4" fmla="*/ 920 w 920"/>
                  <a:gd name="T5" fmla="*/ 21 h 21"/>
                  <a:gd name="T6" fmla="*/ 0 w 920"/>
                  <a:gd name="T7" fmla="*/ 21 h 21"/>
                  <a:gd name="T8" fmla="*/ 0 w 92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0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8" y="7"/>
                      <a:pt x="919" y="14"/>
                      <a:pt x="92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1" name="Freeform 195"/>
              <p:cNvSpPr>
                <a:spLocks/>
              </p:cNvSpPr>
              <p:nvPr/>
            </p:nvSpPr>
            <p:spPr bwMode="auto">
              <a:xfrm>
                <a:off x="1327" y="1156"/>
                <a:ext cx="179" cy="4"/>
              </a:xfrm>
              <a:custGeom>
                <a:avLst/>
                <a:gdLst>
                  <a:gd name="T0" fmla="*/ 0 w 923"/>
                  <a:gd name="T1" fmla="*/ 0 h 21"/>
                  <a:gd name="T2" fmla="*/ 923 w 923"/>
                  <a:gd name="T3" fmla="*/ 0 h 21"/>
                  <a:gd name="T4" fmla="*/ 919 w 923"/>
                  <a:gd name="T5" fmla="*/ 21 h 21"/>
                  <a:gd name="T6" fmla="*/ 0 w 923"/>
                  <a:gd name="T7" fmla="*/ 21 h 21"/>
                  <a:gd name="T8" fmla="*/ 0 w 9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21">
                    <a:moveTo>
                      <a:pt x="0" y="0"/>
                    </a:moveTo>
                    <a:lnTo>
                      <a:pt x="923" y="0"/>
                    </a:lnTo>
                    <a:cubicBezTo>
                      <a:pt x="922" y="7"/>
                      <a:pt x="920" y="14"/>
                      <a:pt x="91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2" name="Freeform 196"/>
              <p:cNvSpPr>
                <a:spLocks/>
              </p:cNvSpPr>
              <p:nvPr/>
            </p:nvSpPr>
            <p:spPr bwMode="auto">
              <a:xfrm>
                <a:off x="1327" y="1164"/>
                <a:ext cx="178" cy="4"/>
              </a:xfrm>
              <a:custGeom>
                <a:avLst/>
                <a:gdLst>
                  <a:gd name="T0" fmla="*/ 0 w 916"/>
                  <a:gd name="T1" fmla="*/ 0 h 21"/>
                  <a:gd name="T2" fmla="*/ 916 w 916"/>
                  <a:gd name="T3" fmla="*/ 0 h 21"/>
                  <a:gd name="T4" fmla="*/ 913 w 916"/>
                  <a:gd name="T5" fmla="*/ 21 h 21"/>
                  <a:gd name="T6" fmla="*/ 0 w 916"/>
                  <a:gd name="T7" fmla="*/ 21 h 21"/>
                  <a:gd name="T8" fmla="*/ 0 w 91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6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5" y="7"/>
                      <a:pt x="914" y="14"/>
                      <a:pt x="91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3" name="Freeform 197"/>
              <p:cNvSpPr>
                <a:spLocks/>
              </p:cNvSpPr>
              <p:nvPr/>
            </p:nvSpPr>
            <p:spPr bwMode="auto">
              <a:xfrm>
                <a:off x="1327" y="1172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2 w 912"/>
                  <a:gd name="T3" fmla="*/ 0 h 21"/>
                  <a:gd name="T4" fmla="*/ 911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2" y="7"/>
                      <a:pt x="911" y="14"/>
                      <a:pt x="91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4" name="Freeform 198"/>
              <p:cNvSpPr>
                <a:spLocks/>
              </p:cNvSpPr>
              <p:nvPr/>
            </p:nvSpPr>
            <p:spPr bwMode="auto">
              <a:xfrm>
                <a:off x="1327" y="1180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1 w 912"/>
                  <a:gd name="T3" fmla="*/ 0 h 21"/>
                  <a:gd name="T4" fmla="*/ 912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1" y="0"/>
                    </a:lnTo>
                    <a:cubicBezTo>
                      <a:pt x="912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5" name="Freeform 199"/>
              <p:cNvSpPr>
                <a:spLocks/>
              </p:cNvSpPr>
              <p:nvPr/>
            </p:nvSpPr>
            <p:spPr bwMode="auto">
              <a:xfrm>
                <a:off x="1327" y="1188"/>
                <a:ext cx="178" cy="4"/>
              </a:xfrm>
              <a:custGeom>
                <a:avLst/>
                <a:gdLst>
                  <a:gd name="T0" fmla="*/ 0 w 916"/>
                  <a:gd name="T1" fmla="*/ 0 h 20"/>
                  <a:gd name="T2" fmla="*/ 914 w 916"/>
                  <a:gd name="T3" fmla="*/ 0 h 20"/>
                  <a:gd name="T4" fmla="*/ 916 w 916"/>
                  <a:gd name="T5" fmla="*/ 14 h 20"/>
                  <a:gd name="T6" fmla="*/ 916 w 916"/>
                  <a:gd name="T7" fmla="*/ 20 h 20"/>
                  <a:gd name="T8" fmla="*/ 0 w 916"/>
                  <a:gd name="T9" fmla="*/ 20 h 20"/>
                  <a:gd name="T10" fmla="*/ 0 w 9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6" h="20">
                    <a:moveTo>
                      <a:pt x="0" y="0"/>
                    </a:moveTo>
                    <a:lnTo>
                      <a:pt x="914" y="0"/>
                    </a:lnTo>
                    <a:cubicBezTo>
                      <a:pt x="915" y="5"/>
                      <a:pt x="915" y="9"/>
                      <a:pt x="916" y="14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6" name="Freeform 200"/>
              <p:cNvSpPr>
                <a:spLocks/>
              </p:cNvSpPr>
              <p:nvPr/>
            </p:nvSpPr>
            <p:spPr bwMode="auto">
              <a:xfrm>
                <a:off x="1327" y="1196"/>
                <a:ext cx="180" cy="4"/>
              </a:xfrm>
              <a:custGeom>
                <a:avLst/>
                <a:gdLst>
                  <a:gd name="T0" fmla="*/ 0 w 925"/>
                  <a:gd name="T1" fmla="*/ 0 h 21"/>
                  <a:gd name="T2" fmla="*/ 920 w 925"/>
                  <a:gd name="T3" fmla="*/ 0 h 21"/>
                  <a:gd name="T4" fmla="*/ 925 w 925"/>
                  <a:gd name="T5" fmla="*/ 21 h 21"/>
                  <a:gd name="T6" fmla="*/ 0 w 925"/>
                  <a:gd name="T7" fmla="*/ 21 h 21"/>
                  <a:gd name="T8" fmla="*/ 0 w 9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5" h="21">
                    <a:moveTo>
                      <a:pt x="0" y="0"/>
                    </a:moveTo>
                    <a:lnTo>
                      <a:pt x="920" y="0"/>
                    </a:lnTo>
                    <a:cubicBezTo>
                      <a:pt x="922" y="7"/>
                      <a:pt x="923" y="14"/>
                      <a:pt x="92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7" name="Freeform 201"/>
              <p:cNvSpPr>
                <a:spLocks/>
              </p:cNvSpPr>
              <p:nvPr/>
            </p:nvSpPr>
            <p:spPr bwMode="auto">
              <a:xfrm>
                <a:off x="1327" y="1200"/>
                <a:ext cx="181" cy="3"/>
              </a:xfrm>
              <a:custGeom>
                <a:avLst/>
                <a:gdLst>
                  <a:gd name="T0" fmla="*/ 0 w 930"/>
                  <a:gd name="T1" fmla="*/ 0 h 14"/>
                  <a:gd name="T2" fmla="*/ 925 w 930"/>
                  <a:gd name="T3" fmla="*/ 0 h 14"/>
                  <a:gd name="T4" fmla="*/ 930 w 930"/>
                  <a:gd name="T5" fmla="*/ 14 h 14"/>
                  <a:gd name="T6" fmla="*/ 0 w 930"/>
                  <a:gd name="T7" fmla="*/ 14 h 14"/>
                  <a:gd name="T8" fmla="*/ 0 w 930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14">
                    <a:moveTo>
                      <a:pt x="0" y="0"/>
                    </a:moveTo>
                    <a:lnTo>
                      <a:pt x="925" y="0"/>
                    </a:lnTo>
                    <a:cubicBezTo>
                      <a:pt x="927" y="4"/>
                      <a:pt x="928" y="9"/>
                      <a:pt x="930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8" name="Freeform 202"/>
              <p:cNvSpPr>
                <a:spLocks/>
              </p:cNvSpPr>
              <p:nvPr/>
            </p:nvSpPr>
            <p:spPr bwMode="auto">
              <a:xfrm>
                <a:off x="1142" y="1140"/>
                <a:ext cx="370" cy="75"/>
              </a:xfrm>
              <a:custGeom>
                <a:avLst/>
                <a:gdLst>
                  <a:gd name="T0" fmla="*/ 1910 w 1910"/>
                  <a:gd name="T1" fmla="*/ 383 h 383"/>
                  <a:gd name="T2" fmla="*/ 82 w 1910"/>
                  <a:gd name="T3" fmla="*/ 383 h 383"/>
                  <a:gd name="T4" fmla="*/ 4 w 1910"/>
                  <a:gd name="T5" fmla="*/ 261 h 383"/>
                  <a:gd name="T6" fmla="*/ 0 w 1910"/>
                  <a:gd name="T7" fmla="*/ 192 h 383"/>
                  <a:gd name="T8" fmla="*/ 4 w 1910"/>
                  <a:gd name="T9" fmla="*/ 122 h 383"/>
                  <a:gd name="T10" fmla="*/ 82 w 1910"/>
                  <a:gd name="T11" fmla="*/ 0 h 383"/>
                  <a:gd name="T12" fmla="*/ 1910 w 1910"/>
                  <a:gd name="T13" fmla="*/ 0 h 383"/>
                  <a:gd name="T14" fmla="*/ 1910 w 1910"/>
                  <a:gd name="T15" fmla="*/ 60 h 383"/>
                  <a:gd name="T16" fmla="*/ 82 w 1910"/>
                  <a:gd name="T17" fmla="*/ 60 h 383"/>
                  <a:gd name="T18" fmla="*/ 64 w 1910"/>
                  <a:gd name="T19" fmla="*/ 129 h 383"/>
                  <a:gd name="T20" fmla="*/ 61 w 1910"/>
                  <a:gd name="T21" fmla="*/ 192 h 383"/>
                  <a:gd name="T22" fmla="*/ 64 w 1910"/>
                  <a:gd name="T23" fmla="*/ 254 h 383"/>
                  <a:gd name="T24" fmla="*/ 82 w 1910"/>
                  <a:gd name="T25" fmla="*/ 323 h 383"/>
                  <a:gd name="T26" fmla="*/ 1910 w 1910"/>
                  <a:gd name="T27" fmla="*/ 323 h 383"/>
                  <a:gd name="T28" fmla="*/ 1910 w 1910"/>
                  <a:gd name="T29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10" h="383">
                    <a:moveTo>
                      <a:pt x="1910" y="383"/>
                    </a:moveTo>
                    <a:lnTo>
                      <a:pt x="82" y="383"/>
                    </a:lnTo>
                    <a:cubicBezTo>
                      <a:pt x="38" y="383"/>
                      <a:pt x="13" y="330"/>
                      <a:pt x="4" y="261"/>
                    </a:cubicBezTo>
                    <a:cubicBezTo>
                      <a:pt x="1" y="239"/>
                      <a:pt x="0" y="215"/>
                      <a:pt x="0" y="192"/>
                    </a:cubicBezTo>
                    <a:cubicBezTo>
                      <a:pt x="0" y="168"/>
                      <a:pt x="1" y="144"/>
                      <a:pt x="4" y="122"/>
                    </a:cubicBezTo>
                    <a:cubicBezTo>
                      <a:pt x="13" y="53"/>
                      <a:pt x="38" y="0"/>
                      <a:pt x="82" y="0"/>
                    </a:cubicBezTo>
                    <a:lnTo>
                      <a:pt x="1910" y="0"/>
                    </a:lnTo>
                    <a:lnTo>
                      <a:pt x="1910" y="60"/>
                    </a:lnTo>
                    <a:lnTo>
                      <a:pt x="82" y="60"/>
                    </a:lnTo>
                    <a:cubicBezTo>
                      <a:pt x="76" y="60"/>
                      <a:pt x="69" y="91"/>
                      <a:pt x="64" y="129"/>
                    </a:cubicBezTo>
                    <a:cubicBezTo>
                      <a:pt x="62" y="148"/>
                      <a:pt x="61" y="170"/>
                      <a:pt x="61" y="192"/>
                    </a:cubicBezTo>
                    <a:cubicBezTo>
                      <a:pt x="61" y="213"/>
                      <a:pt x="62" y="235"/>
                      <a:pt x="64" y="254"/>
                    </a:cubicBezTo>
                    <a:cubicBezTo>
                      <a:pt x="69" y="292"/>
                      <a:pt x="76" y="323"/>
                      <a:pt x="82" y="323"/>
                    </a:cubicBezTo>
                    <a:lnTo>
                      <a:pt x="1910" y="323"/>
                    </a:lnTo>
                    <a:lnTo>
                      <a:pt x="1910" y="383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9" name="Freeform 203"/>
              <p:cNvSpPr>
                <a:spLocks noEditPoints="1"/>
              </p:cNvSpPr>
              <p:nvPr/>
            </p:nvSpPr>
            <p:spPr bwMode="auto">
              <a:xfrm>
                <a:off x="1327" y="1140"/>
                <a:ext cx="185" cy="75"/>
              </a:xfrm>
              <a:custGeom>
                <a:avLst/>
                <a:gdLst>
                  <a:gd name="T0" fmla="*/ 955 w 955"/>
                  <a:gd name="T1" fmla="*/ 383 h 383"/>
                  <a:gd name="T2" fmla="*/ 0 w 955"/>
                  <a:gd name="T3" fmla="*/ 383 h 383"/>
                  <a:gd name="T4" fmla="*/ 0 w 955"/>
                  <a:gd name="T5" fmla="*/ 323 h 383"/>
                  <a:gd name="T6" fmla="*/ 955 w 955"/>
                  <a:gd name="T7" fmla="*/ 323 h 383"/>
                  <a:gd name="T8" fmla="*/ 955 w 955"/>
                  <a:gd name="T9" fmla="*/ 383 h 383"/>
                  <a:gd name="T10" fmla="*/ 0 w 955"/>
                  <a:gd name="T11" fmla="*/ 0 h 383"/>
                  <a:gd name="T12" fmla="*/ 955 w 955"/>
                  <a:gd name="T13" fmla="*/ 0 h 383"/>
                  <a:gd name="T14" fmla="*/ 955 w 955"/>
                  <a:gd name="T15" fmla="*/ 60 h 383"/>
                  <a:gd name="T16" fmla="*/ 0 w 955"/>
                  <a:gd name="T17" fmla="*/ 60 h 383"/>
                  <a:gd name="T18" fmla="*/ 0 w 955"/>
                  <a:gd name="T19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5" h="383">
                    <a:moveTo>
                      <a:pt x="955" y="383"/>
                    </a:moveTo>
                    <a:lnTo>
                      <a:pt x="0" y="383"/>
                    </a:lnTo>
                    <a:lnTo>
                      <a:pt x="0" y="323"/>
                    </a:lnTo>
                    <a:lnTo>
                      <a:pt x="955" y="323"/>
                    </a:lnTo>
                    <a:lnTo>
                      <a:pt x="955" y="383"/>
                    </a:lnTo>
                    <a:close/>
                    <a:moveTo>
                      <a:pt x="0" y="0"/>
                    </a:moveTo>
                    <a:lnTo>
                      <a:pt x="955" y="0"/>
                    </a:lnTo>
                    <a:lnTo>
                      <a:pt x="955" y="60"/>
                    </a:lnTo>
                    <a:lnTo>
                      <a:pt x="0" y="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0" name="Rectangle 204"/>
              <p:cNvSpPr>
                <a:spLocks noChangeArrowheads="1"/>
              </p:cNvSpPr>
              <p:nvPr/>
            </p:nvSpPr>
            <p:spPr bwMode="auto">
              <a:xfrm>
                <a:off x="1331" y="1120"/>
                <a:ext cx="134" cy="8"/>
              </a:xfrm>
              <a:prstGeom prst="rect">
                <a:avLst/>
              </a:prstGeom>
              <a:solidFill>
                <a:srgbClr val="AAC7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1" name="Rectangle 205"/>
              <p:cNvSpPr>
                <a:spLocks noChangeArrowheads="1"/>
              </p:cNvSpPr>
              <p:nvPr/>
            </p:nvSpPr>
            <p:spPr bwMode="auto">
              <a:xfrm>
                <a:off x="1323" y="1128"/>
                <a:ext cx="150" cy="8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2" name="Rectangle 206"/>
              <p:cNvSpPr>
                <a:spLocks noChangeArrowheads="1"/>
              </p:cNvSpPr>
              <p:nvPr/>
            </p:nvSpPr>
            <p:spPr bwMode="auto">
              <a:xfrm>
                <a:off x="1387" y="1131"/>
                <a:ext cx="253" cy="10"/>
              </a:xfrm>
              <a:prstGeom prst="rect">
                <a:avLst/>
              </a:pr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3" name="Rectangle 207"/>
              <p:cNvSpPr>
                <a:spLocks noChangeArrowheads="1"/>
              </p:cNvSpPr>
              <p:nvPr/>
            </p:nvSpPr>
            <p:spPr bwMode="auto">
              <a:xfrm>
                <a:off x="1140" y="1087"/>
                <a:ext cx="202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sp>
          <p:nvSpPr>
            <p:cNvPr id="7" name="Rectangle 209"/>
            <p:cNvSpPr>
              <a:spLocks noChangeArrowheads="1"/>
            </p:cNvSpPr>
            <p:nvPr/>
          </p:nvSpPr>
          <p:spPr bwMode="auto">
            <a:xfrm>
              <a:off x="1809750" y="173672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Rectangle 210"/>
            <p:cNvSpPr>
              <a:spLocks noChangeArrowheads="1"/>
            </p:cNvSpPr>
            <p:nvPr/>
          </p:nvSpPr>
          <p:spPr bwMode="auto">
            <a:xfrm>
              <a:off x="1809750" y="1747838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Rectangle 211"/>
            <p:cNvSpPr>
              <a:spLocks noChangeArrowheads="1"/>
            </p:cNvSpPr>
            <p:nvPr/>
          </p:nvSpPr>
          <p:spPr bwMode="auto">
            <a:xfrm>
              <a:off x="1809750" y="1758950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212"/>
            <p:cNvSpPr>
              <a:spLocks noChangeArrowheads="1"/>
            </p:cNvSpPr>
            <p:nvPr/>
          </p:nvSpPr>
          <p:spPr bwMode="auto">
            <a:xfrm>
              <a:off x="1809750" y="1770063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Rectangle 213"/>
            <p:cNvSpPr>
              <a:spLocks noChangeArrowheads="1"/>
            </p:cNvSpPr>
            <p:nvPr/>
          </p:nvSpPr>
          <p:spPr bwMode="auto">
            <a:xfrm>
              <a:off x="1809750" y="178117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Rectangle 214"/>
            <p:cNvSpPr>
              <a:spLocks noChangeArrowheads="1"/>
            </p:cNvSpPr>
            <p:nvPr/>
          </p:nvSpPr>
          <p:spPr bwMode="auto">
            <a:xfrm>
              <a:off x="1809750" y="173037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Rectangle 215"/>
            <p:cNvSpPr>
              <a:spLocks noChangeArrowheads="1"/>
            </p:cNvSpPr>
            <p:nvPr/>
          </p:nvSpPr>
          <p:spPr bwMode="auto">
            <a:xfrm>
              <a:off x="1809750" y="174148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Rectangle 216"/>
            <p:cNvSpPr>
              <a:spLocks noChangeArrowheads="1"/>
            </p:cNvSpPr>
            <p:nvPr/>
          </p:nvSpPr>
          <p:spPr bwMode="auto">
            <a:xfrm>
              <a:off x="1809750" y="1752600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Rectangle 217"/>
            <p:cNvSpPr>
              <a:spLocks noChangeArrowheads="1"/>
            </p:cNvSpPr>
            <p:nvPr/>
          </p:nvSpPr>
          <p:spPr bwMode="auto">
            <a:xfrm>
              <a:off x="1809750" y="1763713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Rectangle 218"/>
            <p:cNvSpPr>
              <a:spLocks noChangeArrowheads="1"/>
            </p:cNvSpPr>
            <p:nvPr/>
          </p:nvSpPr>
          <p:spPr bwMode="auto">
            <a:xfrm>
              <a:off x="1809750" y="177482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Rectangle 219"/>
            <p:cNvSpPr>
              <a:spLocks noChangeArrowheads="1"/>
            </p:cNvSpPr>
            <p:nvPr/>
          </p:nvSpPr>
          <p:spPr bwMode="auto">
            <a:xfrm>
              <a:off x="1809750" y="178593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Rectangle 220"/>
            <p:cNvSpPr>
              <a:spLocks noChangeArrowheads="1"/>
            </p:cNvSpPr>
            <p:nvPr/>
          </p:nvSpPr>
          <p:spPr bwMode="auto">
            <a:xfrm>
              <a:off x="1809750" y="1792288"/>
              <a:ext cx="320675" cy="3175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auto">
            <a:xfrm>
              <a:off x="2130425" y="1725613"/>
              <a:ext cx="71438" cy="69850"/>
            </a:xfrm>
            <a:custGeom>
              <a:avLst/>
              <a:gdLst>
                <a:gd name="T0" fmla="*/ 0 w 229"/>
                <a:gd name="T1" fmla="*/ 0 h 228"/>
                <a:gd name="T2" fmla="*/ 162 w 229"/>
                <a:gd name="T3" fmla="*/ 67 h 228"/>
                <a:gd name="T4" fmla="*/ 162 w 229"/>
                <a:gd name="T5" fmla="*/ 67 h 228"/>
                <a:gd name="T6" fmla="*/ 229 w 229"/>
                <a:gd name="T7" fmla="*/ 228 h 228"/>
                <a:gd name="T8" fmla="*/ 167 w 229"/>
                <a:gd name="T9" fmla="*/ 228 h 228"/>
                <a:gd name="T10" fmla="*/ 118 w 229"/>
                <a:gd name="T11" fmla="*/ 110 h 228"/>
                <a:gd name="T12" fmla="*/ 118 w 229"/>
                <a:gd name="T13" fmla="*/ 110 h 228"/>
                <a:gd name="T14" fmla="*/ 0 w 229"/>
                <a:gd name="T15" fmla="*/ 61 h 228"/>
                <a:gd name="T16" fmla="*/ 0 w 229"/>
                <a:gd name="T17" fmla="*/ 61 h 228"/>
                <a:gd name="T18" fmla="*/ 0 w 229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28">
                  <a:moveTo>
                    <a:pt x="0" y="0"/>
                  </a:moveTo>
                  <a:cubicBezTo>
                    <a:pt x="63" y="0"/>
                    <a:pt x="120" y="25"/>
                    <a:pt x="162" y="67"/>
                  </a:cubicBezTo>
                  <a:lnTo>
                    <a:pt x="162" y="67"/>
                  </a:lnTo>
                  <a:cubicBezTo>
                    <a:pt x="203" y="108"/>
                    <a:pt x="229" y="165"/>
                    <a:pt x="229" y="228"/>
                  </a:cubicBezTo>
                  <a:lnTo>
                    <a:pt x="167" y="228"/>
                  </a:lnTo>
                  <a:cubicBezTo>
                    <a:pt x="167" y="182"/>
                    <a:pt x="148" y="140"/>
                    <a:pt x="118" y="110"/>
                  </a:cubicBezTo>
                  <a:lnTo>
                    <a:pt x="118" y="110"/>
                  </a:lnTo>
                  <a:cubicBezTo>
                    <a:pt x="88" y="80"/>
                    <a:pt x="46" y="61"/>
                    <a:pt x="0" y="61"/>
                  </a:cubicBez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auto">
            <a:xfrm>
              <a:off x="2130425" y="1730375"/>
              <a:ext cx="65088" cy="65087"/>
            </a:xfrm>
            <a:custGeom>
              <a:avLst/>
              <a:gdLst>
                <a:gd name="T0" fmla="*/ 0 w 211"/>
                <a:gd name="T1" fmla="*/ 0 h 210"/>
                <a:gd name="T2" fmla="*/ 149 w 211"/>
                <a:gd name="T3" fmla="*/ 61 h 210"/>
                <a:gd name="T4" fmla="*/ 149 w 211"/>
                <a:gd name="T5" fmla="*/ 62 h 210"/>
                <a:gd name="T6" fmla="*/ 211 w 211"/>
                <a:gd name="T7" fmla="*/ 210 h 210"/>
                <a:gd name="T8" fmla="*/ 154 w 211"/>
                <a:gd name="T9" fmla="*/ 210 h 210"/>
                <a:gd name="T10" fmla="*/ 109 w 211"/>
                <a:gd name="T11" fmla="*/ 102 h 210"/>
                <a:gd name="T12" fmla="*/ 109 w 211"/>
                <a:gd name="T13" fmla="*/ 102 h 210"/>
                <a:gd name="T14" fmla="*/ 0 w 211"/>
                <a:gd name="T15" fmla="*/ 56 h 210"/>
                <a:gd name="T16" fmla="*/ 0 w 211"/>
                <a:gd name="T17" fmla="*/ 56 h 210"/>
                <a:gd name="T18" fmla="*/ 0 w 211"/>
                <a:gd name="T1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0" y="0"/>
                  </a:moveTo>
                  <a:cubicBezTo>
                    <a:pt x="58" y="0"/>
                    <a:pt x="111" y="23"/>
                    <a:pt x="149" y="61"/>
                  </a:cubicBezTo>
                  <a:lnTo>
                    <a:pt x="149" y="62"/>
                  </a:lnTo>
                  <a:cubicBezTo>
                    <a:pt x="187" y="100"/>
                    <a:pt x="211" y="152"/>
                    <a:pt x="211" y="210"/>
                  </a:cubicBezTo>
                  <a:lnTo>
                    <a:pt x="154" y="210"/>
                  </a:lnTo>
                  <a:cubicBezTo>
                    <a:pt x="154" y="168"/>
                    <a:pt x="137" y="129"/>
                    <a:pt x="109" y="102"/>
                  </a:cubicBezTo>
                  <a:lnTo>
                    <a:pt x="109" y="102"/>
                  </a:lnTo>
                  <a:cubicBezTo>
                    <a:pt x="81" y="74"/>
                    <a:pt x="42" y="56"/>
                    <a:pt x="0" y="56"/>
                  </a:cubicBezTo>
                  <a:lnTo>
                    <a:pt x="0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23"/>
            <p:cNvSpPr>
              <a:spLocks/>
            </p:cNvSpPr>
            <p:nvPr/>
          </p:nvSpPr>
          <p:spPr bwMode="auto">
            <a:xfrm>
              <a:off x="2130425" y="1736725"/>
              <a:ext cx="60325" cy="58737"/>
            </a:xfrm>
            <a:custGeom>
              <a:avLst/>
              <a:gdLst>
                <a:gd name="T0" fmla="*/ 0 w 193"/>
                <a:gd name="T1" fmla="*/ 0 h 192"/>
                <a:gd name="T2" fmla="*/ 136 w 193"/>
                <a:gd name="T3" fmla="*/ 56 h 192"/>
                <a:gd name="T4" fmla="*/ 136 w 193"/>
                <a:gd name="T5" fmla="*/ 56 h 192"/>
                <a:gd name="T6" fmla="*/ 193 w 193"/>
                <a:gd name="T7" fmla="*/ 192 h 192"/>
                <a:gd name="T8" fmla="*/ 141 w 193"/>
                <a:gd name="T9" fmla="*/ 192 h 192"/>
                <a:gd name="T10" fmla="*/ 99 w 193"/>
                <a:gd name="T11" fmla="*/ 93 h 192"/>
                <a:gd name="T12" fmla="*/ 99 w 193"/>
                <a:gd name="T13" fmla="*/ 93 h 192"/>
                <a:gd name="T14" fmla="*/ 0 w 193"/>
                <a:gd name="T15" fmla="*/ 52 h 192"/>
                <a:gd name="T16" fmla="*/ 0 w 193"/>
                <a:gd name="T17" fmla="*/ 52 h 192"/>
                <a:gd name="T18" fmla="*/ 0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0" y="0"/>
                  </a:moveTo>
                  <a:cubicBezTo>
                    <a:pt x="53" y="0"/>
                    <a:pt x="101" y="21"/>
                    <a:pt x="136" y="56"/>
                  </a:cubicBezTo>
                  <a:lnTo>
                    <a:pt x="136" y="56"/>
                  </a:lnTo>
                  <a:cubicBezTo>
                    <a:pt x="171" y="91"/>
                    <a:pt x="193" y="139"/>
                    <a:pt x="193" y="192"/>
                  </a:cubicBezTo>
                  <a:lnTo>
                    <a:pt x="141" y="192"/>
                  </a:lnTo>
                  <a:cubicBezTo>
                    <a:pt x="141" y="153"/>
                    <a:pt x="125" y="118"/>
                    <a:pt x="99" y="93"/>
                  </a:cubicBezTo>
                  <a:lnTo>
                    <a:pt x="99" y="93"/>
                  </a:lnTo>
                  <a:cubicBezTo>
                    <a:pt x="74" y="67"/>
                    <a:pt x="39" y="52"/>
                    <a:pt x="0" y="52"/>
                  </a:cubicBez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2130425" y="1741488"/>
              <a:ext cx="53975" cy="53975"/>
            </a:xfrm>
            <a:custGeom>
              <a:avLst/>
              <a:gdLst>
                <a:gd name="T0" fmla="*/ 0 w 174"/>
                <a:gd name="T1" fmla="*/ 0 h 174"/>
                <a:gd name="T2" fmla="*/ 123 w 174"/>
                <a:gd name="T3" fmla="*/ 51 h 174"/>
                <a:gd name="T4" fmla="*/ 123 w 174"/>
                <a:gd name="T5" fmla="*/ 51 h 174"/>
                <a:gd name="T6" fmla="*/ 174 w 174"/>
                <a:gd name="T7" fmla="*/ 174 h 174"/>
                <a:gd name="T8" fmla="*/ 127 w 174"/>
                <a:gd name="T9" fmla="*/ 174 h 174"/>
                <a:gd name="T10" fmla="*/ 90 w 174"/>
                <a:gd name="T11" fmla="*/ 84 h 174"/>
                <a:gd name="T12" fmla="*/ 90 w 174"/>
                <a:gd name="T13" fmla="*/ 84 h 174"/>
                <a:gd name="T14" fmla="*/ 0 w 174"/>
                <a:gd name="T15" fmla="*/ 47 h 174"/>
                <a:gd name="T16" fmla="*/ 0 w 174"/>
                <a:gd name="T17" fmla="*/ 47 h 174"/>
                <a:gd name="T18" fmla="*/ 0 w 174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174">
                  <a:moveTo>
                    <a:pt x="0" y="0"/>
                  </a:moveTo>
                  <a:cubicBezTo>
                    <a:pt x="48" y="0"/>
                    <a:pt x="92" y="19"/>
                    <a:pt x="123" y="51"/>
                  </a:cubicBezTo>
                  <a:lnTo>
                    <a:pt x="123" y="51"/>
                  </a:lnTo>
                  <a:cubicBezTo>
                    <a:pt x="155" y="83"/>
                    <a:pt x="174" y="126"/>
                    <a:pt x="174" y="174"/>
                  </a:cubicBezTo>
                  <a:lnTo>
                    <a:pt x="127" y="174"/>
                  </a:lnTo>
                  <a:cubicBezTo>
                    <a:pt x="127" y="139"/>
                    <a:pt x="113" y="107"/>
                    <a:pt x="90" y="84"/>
                  </a:cubicBezTo>
                  <a:lnTo>
                    <a:pt x="90" y="84"/>
                  </a:lnTo>
                  <a:cubicBezTo>
                    <a:pt x="67" y="61"/>
                    <a:pt x="35" y="47"/>
                    <a:pt x="0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2130425" y="1747838"/>
              <a:ext cx="49213" cy="47625"/>
            </a:xfrm>
            <a:custGeom>
              <a:avLst/>
              <a:gdLst>
                <a:gd name="T0" fmla="*/ 0 w 156"/>
                <a:gd name="T1" fmla="*/ 0 h 156"/>
                <a:gd name="T2" fmla="*/ 111 w 156"/>
                <a:gd name="T3" fmla="*/ 46 h 156"/>
                <a:gd name="T4" fmla="*/ 111 w 156"/>
                <a:gd name="T5" fmla="*/ 46 h 156"/>
                <a:gd name="T6" fmla="*/ 156 w 156"/>
                <a:gd name="T7" fmla="*/ 156 h 156"/>
                <a:gd name="T8" fmla="*/ 114 w 156"/>
                <a:gd name="T9" fmla="*/ 156 h 156"/>
                <a:gd name="T10" fmla="*/ 81 w 156"/>
                <a:gd name="T11" fmla="*/ 76 h 156"/>
                <a:gd name="T12" fmla="*/ 81 w 156"/>
                <a:gd name="T13" fmla="*/ 76 h 156"/>
                <a:gd name="T14" fmla="*/ 0 w 156"/>
                <a:gd name="T15" fmla="*/ 42 h 156"/>
                <a:gd name="T16" fmla="*/ 0 w 156"/>
                <a:gd name="T17" fmla="*/ 42 h 156"/>
                <a:gd name="T18" fmla="*/ 0 w 156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0" y="0"/>
                  </a:moveTo>
                  <a:cubicBezTo>
                    <a:pt x="43" y="0"/>
                    <a:pt x="82" y="17"/>
                    <a:pt x="111" y="46"/>
                  </a:cubicBezTo>
                  <a:lnTo>
                    <a:pt x="111" y="46"/>
                  </a:lnTo>
                  <a:cubicBezTo>
                    <a:pt x="139" y="74"/>
                    <a:pt x="156" y="113"/>
                    <a:pt x="156" y="156"/>
                  </a:cubicBezTo>
                  <a:lnTo>
                    <a:pt x="114" y="156"/>
                  </a:lnTo>
                  <a:cubicBezTo>
                    <a:pt x="114" y="125"/>
                    <a:pt x="101" y="96"/>
                    <a:pt x="81" y="76"/>
                  </a:cubicBezTo>
                  <a:lnTo>
                    <a:pt x="81" y="76"/>
                  </a:lnTo>
                  <a:cubicBezTo>
                    <a:pt x="60" y="55"/>
                    <a:pt x="32" y="42"/>
                    <a:pt x="0" y="42"/>
                  </a:cubicBezTo>
                  <a:lnTo>
                    <a:pt x="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2130425" y="1752600"/>
              <a:ext cx="42863" cy="42862"/>
            </a:xfrm>
            <a:custGeom>
              <a:avLst/>
              <a:gdLst>
                <a:gd name="T0" fmla="*/ 0 w 138"/>
                <a:gd name="T1" fmla="*/ 0 h 138"/>
                <a:gd name="T2" fmla="*/ 98 w 138"/>
                <a:gd name="T3" fmla="*/ 40 h 138"/>
                <a:gd name="T4" fmla="*/ 98 w 138"/>
                <a:gd name="T5" fmla="*/ 41 h 138"/>
                <a:gd name="T6" fmla="*/ 138 w 138"/>
                <a:gd name="T7" fmla="*/ 138 h 138"/>
                <a:gd name="T8" fmla="*/ 101 w 138"/>
                <a:gd name="T9" fmla="*/ 138 h 138"/>
                <a:gd name="T10" fmla="*/ 71 w 138"/>
                <a:gd name="T11" fmla="*/ 67 h 138"/>
                <a:gd name="T12" fmla="*/ 71 w 138"/>
                <a:gd name="T13" fmla="*/ 67 h 138"/>
                <a:gd name="T14" fmla="*/ 0 w 138"/>
                <a:gd name="T15" fmla="*/ 37 h 138"/>
                <a:gd name="T16" fmla="*/ 0 w 138"/>
                <a:gd name="T17" fmla="*/ 37 h 138"/>
                <a:gd name="T18" fmla="*/ 0 w 138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0" y="0"/>
                  </a:moveTo>
                  <a:cubicBezTo>
                    <a:pt x="38" y="0"/>
                    <a:pt x="73" y="15"/>
                    <a:pt x="98" y="40"/>
                  </a:cubicBezTo>
                  <a:lnTo>
                    <a:pt x="98" y="41"/>
                  </a:lnTo>
                  <a:cubicBezTo>
                    <a:pt x="123" y="66"/>
                    <a:pt x="138" y="100"/>
                    <a:pt x="138" y="138"/>
                  </a:cubicBezTo>
                  <a:lnTo>
                    <a:pt x="101" y="138"/>
                  </a:lnTo>
                  <a:cubicBezTo>
                    <a:pt x="101" y="110"/>
                    <a:pt x="90" y="85"/>
                    <a:pt x="71" y="67"/>
                  </a:cubicBezTo>
                  <a:lnTo>
                    <a:pt x="71" y="67"/>
                  </a:lnTo>
                  <a:cubicBezTo>
                    <a:pt x="53" y="49"/>
                    <a:pt x="28" y="37"/>
                    <a:pt x="0" y="37"/>
                  </a:cubicBez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2130425" y="1758950"/>
              <a:ext cx="38100" cy="36512"/>
            </a:xfrm>
            <a:custGeom>
              <a:avLst/>
              <a:gdLst>
                <a:gd name="T0" fmla="*/ 0 w 120"/>
                <a:gd name="T1" fmla="*/ 0 h 120"/>
                <a:gd name="T2" fmla="*/ 85 w 120"/>
                <a:gd name="T3" fmla="*/ 35 h 120"/>
                <a:gd name="T4" fmla="*/ 85 w 120"/>
                <a:gd name="T5" fmla="*/ 35 h 120"/>
                <a:gd name="T6" fmla="*/ 120 w 120"/>
                <a:gd name="T7" fmla="*/ 120 h 120"/>
                <a:gd name="T8" fmla="*/ 88 w 120"/>
                <a:gd name="T9" fmla="*/ 120 h 120"/>
                <a:gd name="T10" fmla="*/ 62 w 120"/>
                <a:gd name="T11" fmla="*/ 58 h 120"/>
                <a:gd name="T12" fmla="*/ 62 w 120"/>
                <a:gd name="T13" fmla="*/ 58 h 120"/>
                <a:gd name="T14" fmla="*/ 0 w 120"/>
                <a:gd name="T15" fmla="*/ 32 h 120"/>
                <a:gd name="T16" fmla="*/ 0 w 120"/>
                <a:gd name="T17" fmla="*/ 32 h 120"/>
                <a:gd name="T18" fmla="*/ 0 w 120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33" y="0"/>
                    <a:pt x="63" y="13"/>
                    <a:pt x="85" y="35"/>
                  </a:cubicBezTo>
                  <a:lnTo>
                    <a:pt x="85" y="35"/>
                  </a:lnTo>
                  <a:cubicBezTo>
                    <a:pt x="107" y="57"/>
                    <a:pt x="120" y="87"/>
                    <a:pt x="120" y="120"/>
                  </a:cubicBezTo>
                  <a:lnTo>
                    <a:pt x="88" y="120"/>
                  </a:lnTo>
                  <a:cubicBezTo>
                    <a:pt x="88" y="96"/>
                    <a:pt x="78" y="74"/>
                    <a:pt x="62" y="58"/>
                  </a:cubicBezTo>
                  <a:lnTo>
                    <a:pt x="62" y="58"/>
                  </a:lnTo>
                  <a:cubicBezTo>
                    <a:pt x="46" y="42"/>
                    <a:pt x="24" y="32"/>
                    <a:pt x="0" y="32"/>
                  </a:cubicBez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2130425" y="1763713"/>
              <a:ext cx="31750" cy="31750"/>
            </a:xfrm>
            <a:custGeom>
              <a:avLst/>
              <a:gdLst>
                <a:gd name="T0" fmla="*/ 0 w 102"/>
                <a:gd name="T1" fmla="*/ 0 h 102"/>
                <a:gd name="T2" fmla="*/ 72 w 102"/>
                <a:gd name="T3" fmla="*/ 30 h 102"/>
                <a:gd name="T4" fmla="*/ 72 w 102"/>
                <a:gd name="T5" fmla="*/ 30 h 102"/>
                <a:gd name="T6" fmla="*/ 102 w 102"/>
                <a:gd name="T7" fmla="*/ 102 h 102"/>
                <a:gd name="T8" fmla="*/ 75 w 102"/>
                <a:gd name="T9" fmla="*/ 102 h 102"/>
                <a:gd name="T10" fmla="*/ 53 w 102"/>
                <a:gd name="T11" fmla="*/ 50 h 102"/>
                <a:gd name="T12" fmla="*/ 53 w 102"/>
                <a:gd name="T13" fmla="*/ 50 h 102"/>
                <a:gd name="T14" fmla="*/ 0 w 102"/>
                <a:gd name="T15" fmla="*/ 28 h 102"/>
                <a:gd name="T16" fmla="*/ 0 w 102"/>
                <a:gd name="T17" fmla="*/ 28 h 102"/>
                <a:gd name="T18" fmla="*/ 0 w 102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0" y="0"/>
                  </a:moveTo>
                  <a:cubicBezTo>
                    <a:pt x="28" y="0"/>
                    <a:pt x="54" y="12"/>
                    <a:pt x="72" y="30"/>
                  </a:cubicBezTo>
                  <a:lnTo>
                    <a:pt x="72" y="30"/>
                  </a:lnTo>
                  <a:cubicBezTo>
                    <a:pt x="91" y="49"/>
                    <a:pt x="102" y="74"/>
                    <a:pt x="102" y="102"/>
                  </a:cubicBezTo>
                  <a:lnTo>
                    <a:pt x="75" y="102"/>
                  </a:lnTo>
                  <a:cubicBezTo>
                    <a:pt x="75" y="82"/>
                    <a:pt x="66" y="63"/>
                    <a:pt x="53" y="50"/>
                  </a:cubicBezTo>
                  <a:lnTo>
                    <a:pt x="53" y="50"/>
                  </a:lnTo>
                  <a:cubicBezTo>
                    <a:pt x="39" y="36"/>
                    <a:pt x="21" y="28"/>
                    <a:pt x="0" y="28"/>
                  </a:cubicBez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2130425" y="1770063"/>
              <a:ext cx="26988" cy="25400"/>
            </a:xfrm>
            <a:custGeom>
              <a:avLst/>
              <a:gdLst>
                <a:gd name="T0" fmla="*/ 0 w 84"/>
                <a:gd name="T1" fmla="*/ 0 h 84"/>
                <a:gd name="T2" fmla="*/ 59 w 84"/>
                <a:gd name="T3" fmla="*/ 25 h 84"/>
                <a:gd name="T4" fmla="*/ 59 w 84"/>
                <a:gd name="T5" fmla="*/ 25 h 84"/>
                <a:gd name="T6" fmla="*/ 84 w 84"/>
                <a:gd name="T7" fmla="*/ 84 h 84"/>
                <a:gd name="T8" fmla="*/ 61 w 84"/>
                <a:gd name="T9" fmla="*/ 84 h 84"/>
                <a:gd name="T10" fmla="*/ 43 w 84"/>
                <a:gd name="T11" fmla="*/ 41 h 84"/>
                <a:gd name="T12" fmla="*/ 43 w 84"/>
                <a:gd name="T13" fmla="*/ 41 h 84"/>
                <a:gd name="T14" fmla="*/ 0 w 84"/>
                <a:gd name="T15" fmla="*/ 23 h 84"/>
                <a:gd name="T16" fmla="*/ 0 w 84"/>
                <a:gd name="T17" fmla="*/ 23 h 84"/>
                <a:gd name="T18" fmla="*/ 0 w 84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0" y="0"/>
                  </a:moveTo>
                  <a:cubicBezTo>
                    <a:pt x="23" y="0"/>
                    <a:pt x="44" y="10"/>
                    <a:pt x="59" y="25"/>
                  </a:cubicBezTo>
                  <a:lnTo>
                    <a:pt x="59" y="25"/>
                  </a:lnTo>
                  <a:cubicBezTo>
                    <a:pt x="75" y="40"/>
                    <a:pt x="84" y="61"/>
                    <a:pt x="84" y="84"/>
                  </a:cubicBezTo>
                  <a:lnTo>
                    <a:pt x="61" y="84"/>
                  </a:lnTo>
                  <a:cubicBezTo>
                    <a:pt x="61" y="67"/>
                    <a:pt x="54" y="52"/>
                    <a:pt x="43" y="41"/>
                  </a:cubicBezTo>
                  <a:lnTo>
                    <a:pt x="43" y="41"/>
                  </a:lnTo>
                  <a:cubicBezTo>
                    <a:pt x="32" y="30"/>
                    <a:pt x="17" y="23"/>
                    <a:pt x="0" y="23"/>
                  </a:cubicBezTo>
                  <a:lnTo>
                    <a:pt x="0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2130425" y="1774825"/>
              <a:ext cx="20638" cy="20637"/>
            </a:xfrm>
            <a:custGeom>
              <a:avLst/>
              <a:gdLst>
                <a:gd name="T0" fmla="*/ 0 w 66"/>
                <a:gd name="T1" fmla="*/ 0 h 66"/>
                <a:gd name="T2" fmla="*/ 47 w 66"/>
                <a:gd name="T3" fmla="*/ 19 h 66"/>
                <a:gd name="T4" fmla="*/ 47 w 66"/>
                <a:gd name="T5" fmla="*/ 19 h 66"/>
                <a:gd name="T6" fmla="*/ 66 w 66"/>
                <a:gd name="T7" fmla="*/ 66 h 66"/>
                <a:gd name="T8" fmla="*/ 57 w 66"/>
                <a:gd name="T9" fmla="*/ 66 h 66"/>
                <a:gd name="T10" fmla="*/ 48 w 66"/>
                <a:gd name="T11" fmla="*/ 66 h 66"/>
                <a:gd name="T12" fmla="*/ 0 w 66"/>
                <a:gd name="T13" fmla="*/ 66 h 66"/>
                <a:gd name="T14" fmla="*/ 0 w 66"/>
                <a:gd name="T15" fmla="*/ 47 h 66"/>
                <a:gd name="T16" fmla="*/ 0 w 66"/>
                <a:gd name="T17" fmla="*/ 43 h 66"/>
                <a:gd name="T18" fmla="*/ 0 w 66"/>
                <a:gd name="T19" fmla="*/ 18 h 66"/>
                <a:gd name="T20" fmla="*/ 0 w 66"/>
                <a:gd name="T21" fmla="*/ 18 h 66"/>
                <a:gd name="T22" fmla="*/ 0 w 66"/>
                <a:gd name="T23" fmla="*/ 15 h 66"/>
                <a:gd name="T24" fmla="*/ 0 w 66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cubicBezTo>
                    <a:pt x="18" y="0"/>
                    <a:pt x="35" y="7"/>
                    <a:pt x="47" y="19"/>
                  </a:cubicBezTo>
                  <a:lnTo>
                    <a:pt x="47" y="19"/>
                  </a:lnTo>
                  <a:cubicBezTo>
                    <a:pt x="59" y="32"/>
                    <a:pt x="66" y="48"/>
                    <a:pt x="66" y="66"/>
                  </a:cubicBezTo>
                  <a:lnTo>
                    <a:pt x="57" y="66"/>
                  </a:lnTo>
                  <a:lnTo>
                    <a:pt x="48" y="66"/>
                  </a:lnTo>
                  <a:lnTo>
                    <a:pt x="0" y="6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2130425" y="1781175"/>
              <a:ext cx="15875" cy="14287"/>
            </a:xfrm>
            <a:custGeom>
              <a:avLst/>
              <a:gdLst>
                <a:gd name="T0" fmla="*/ 0 w 48"/>
                <a:gd name="T1" fmla="*/ 0 h 48"/>
                <a:gd name="T2" fmla="*/ 34 w 48"/>
                <a:gd name="T3" fmla="*/ 14 h 48"/>
                <a:gd name="T4" fmla="*/ 34 w 48"/>
                <a:gd name="T5" fmla="*/ 14 h 48"/>
                <a:gd name="T6" fmla="*/ 48 w 48"/>
                <a:gd name="T7" fmla="*/ 48 h 48"/>
                <a:gd name="T8" fmla="*/ 42 w 48"/>
                <a:gd name="T9" fmla="*/ 48 h 48"/>
                <a:gd name="T10" fmla="*/ 35 w 48"/>
                <a:gd name="T11" fmla="*/ 48 h 48"/>
                <a:gd name="T12" fmla="*/ 0 w 48"/>
                <a:gd name="T13" fmla="*/ 48 h 48"/>
                <a:gd name="T14" fmla="*/ 0 w 48"/>
                <a:gd name="T15" fmla="*/ 34 h 48"/>
                <a:gd name="T16" fmla="*/ 0 w 48"/>
                <a:gd name="T17" fmla="*/ 31 h 48"/>
                <a:gd name="T18" fmla="*/ 0 w 48"/>
                <a:gd name="T19" fmla="*/ 13 h 48"/>
                <a:gd name="T20" fmla="*/ 0 w 48"/>
                <a:gd name="T21" fmla="*/ 13 h 48"/>
                <a:gd name="T22" fmla="*/ 0 w 48"/>
                <a:gd name="T23" fmla="*/ 11 h 48"/>
                <a:gd name="T24" fmla="*/ 0 w 48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cubicBezTo>
                    <a:pt x="13" y="0"/>
                    <a:pt x="25" y="5"/>
                    <a:pt x="34" y="14"/>
                  </a:cubicBezTo>
                  <a:lnTo>
                    <a:pt x="34" y="14"/>
                  </a:lnTo>
                  <a:cubicBezTo>
                    <a:pt x="43" y="23"/>
                    <a:pt x="48" y="35"/>
                    <a:pt x="48" y="48"/>
                  </a:cubicBezTo>
                  <a:lnTo>
                    <a:pt x="42" y="48"/>
                  </a:lnTo>
                  <a:lnTo>
                    <a:pt x="35" y="48"/>
                  </a:lnTo>
                  <a:lnTo>
                    <a:pt x="0" y="48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2130425" y="1785938"/>
              <a:ext cx="9525" cy="9525"/>
            </a:xfrm>
            <a:custGeom>
              <a:avLst/>
              <a:gdLst>
                <a:gd name="T0" fmla="*/ 0 w 30"/>
                <a:gd name="T1" fmla="*/ 0 h 30"/>
                <a:gd name="T2" fmla="*/ 21 w 30"/>
                <a:gd name="T3" fmla="*/ 9 h 30"/>
                <a:gd name="T4" fmla="*/ 21 w 30"/>
                <a:gd name="T5" fmla="*/ 9 h 30"/>
                <a:gd name="T6" fmla="*/ 30 w 30"/>
                <a:gd name="T7" fmla="*/ 30 h 30"/>
                <a:gd name="T8" fmla="*/ 0 w 30"/>
                <a:gd name="T9" fmla="*/ 30 h 30"/>
                <a:gd name="T10" fmla="*/ 0 w 30"/>
                <a:gd name="T11" fmla="*/ 22 h 30"/>
                <a:gd name="T12" fmla="*/ 0 w 30"/>
                <a:gd name="T13" fmla="*/ 20 h 30"/>
                <a:gd name="T14" fmla="*/ 0 w 30"/>
                <a:gd name="T15" fmla="*/ 8 h 30"/>
                <a:gd name="T16" fmla="*/ 0 w 30"/>
                <a:gd name="T17" fmla="*/ 8 h 30"/>
                <a:gd name="T18" fmla="*/ 0 w 30"/>
                <a:gd name="T19" fmla="*/ 7 h 30"/>
                <a:gd name="T20" fmla="*/ 0 w 30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0">
                  <a:moveTo>
                    <a:pt x="0" y="0"/>
                  </a:moveTo>
                  <a:cubicBezTo>
                    <a:pt x="8" y="0"/>
                    <a:pt x="16" y="4"/>
                    <a:pt x="21" y="9"/>
                  </a:cubicBezTo>
                  <a:lnTo>
                    <a:pt x="21" y="9"/>
                  </a:lnTo>
                  <a:cubicBezTo>
                    <a:pt x="27" y="14"/>
                    <a:pt x="30" y="22"/>
                    <a:pt x="30" y="30"/>
                  </a:cubicBezTo>
                  <a:lnTo>
                    <a:pt x="0" y="30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2130425" y="1792288"/>
              <a:ext cx="4763" cy="3175"/>
            </a:xfrm>
            <a:custGeom>
              <a:avLst/>
              <a:gdLst>
                <a:gd name="T0" fmla="*/ 0 w 12"/>
                <a:gd name="T1" fmla="*/ 0 h 12"/>
                <a:gd name="T2" fmla="*/ 9 w 12"/>
                <a:gd name="T3" fmla="*/ 4 h 12"/>
                <a:gd name="T4" fmla="*/ 9 w 12"/>
                <a:gd name="T5" fmla="*/ 4 h 12"/>
                <a:gd name="T6" fmla="*/ 12 w 12"/>
                <a:gd name="T7" fmla="*/ 12 h 12"/>
                <a:gd name="T8" fmla="*/ 0 w 12"/>
                <a:gd name="T9" fmla="*/ 12 h 12"/>
                <a:gd name="T10" fmla="*/ 0 w 12"/>
                <a:gd name="T11" fmla="*/ 9 h 12"/>
                <a:gd name="T12" fmla="*/ 0 w 12"/>
                <a:gd name="T13" fmla="*/ 8 h 12"/>
                <a:gd name="T14" fmla="*/ 0 w 12"/>
                <a:gd name="T15" fmla="*/ 3 h 12"/>
                <a:gd name="T16" fmla="*/ 0 w 12"/>
                <a:gd name="T17" fmla="*/ 3 h 12"/>
                <a:gd name="T18" fmla="*/ 0 w 12"/>
                <a:gd name="T19" fmla="*/ 3 h 12"/>
                <a:gd name="T20" fmla="*/ 0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3" y="0"/>
                    <a:pt x="6" y="2"/>
                    <a:pt x="9" y="4"/>
                  </a:cubicBezTo>
                  <a:lnTo>
                    <a:pt x="9" y="4"/>
                  </a:lnTo>
                  <a:cubicBezTo>
                    <a:pt x="11" y="6"/>
                    <a:pt x="12" y="9"/>
                    <a:pt x="12" y="12"/>
                  </a:cubicBezTo>
                  <a:lnTo>
                    <a:pt x="0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Rectangle 234"/>
            <p:cNvSpPr>
              <a:spLocks noChangeArrowheads="1"/>
            </p:cNvSpPr>
            <p:nvPr/>
          </p:nvSpPr>
          <p:spPr bwMode="auto">
            <a:xfrm>
              <a:off x="2271713" y="172561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Rectangle 235"/>
            <p:cNvSpPr>
              <a:spLocks noChangeArrowheads="1"/>
            </p:cNvSpPr>
            <p:nvPr/>
          </p:nvSpPr>
          <p:spPr bwMode="auto">
            <a:xfrm>
              <a:off x="2271713" y="173672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Rectangle 236"/>
            <p:cNvSpPr>
              <a:spLocks noChangeArrowheads="1"/>
            </p:cNvSpPr>
            <p:nvPr/>
          </p:nvSpPr>
          <p:spPr bwMode="auto">
            <a:xfrm>
              <a:off x="2271713" y="1747838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Rectangle 237"/>
            <p:cNvSpPr>
              <a:spLocks noChangeArrowheads="1"/>
            </p:cNvSpPr>
            <p:nvPr/>
          </p:nvSpPr>
          <p:spPr bwMode="auto">
            <a:xfrm>
              <a:off x="2271713" y="1758950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Rectangle 238"/>
            <p:cNvSpPr>
              <a:spLocks noChangeArrowheads="1"/>
            </p:cNvSpPr>
            <p:nvPr/>
          </p:nvSpPr>
          <p:spPr bwMode="auto">
            <a:xfrm>
              <a:off x="2271713" y="177006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Rectangle 239"/>
            <p:cNvSpPr>
              <a:spLocks noChangeArrowheads="1"/>
            </p:cNvSpPr>
            <p:nvPr/>
          </p:nvSpPr>
          <p:spPr bwMode="auto">
            <a:xfrm>
              <a:off x="2271713" y="178117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Rectangle 240"/>
            <p:cNvSpPr>
              <a:spLocks noChangeArrowheads="1"/>
            </p:cNvSpPr>
            <p:nvPr/>
          </p:nvSpPr>
          <p:spPr bwMode="auto">
            <a:xfrm>
              <a:off x="2271713" y="173037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Rectangle 241"/>
            <p:cNvSpPr>
              <a:spLocks noChangeArrowheads="1"/>
            </p:cNvSpPr>
            <p:nvPr/>
          </p:nvSpPr>
          <p:spPr bwMode="auto">
            <a:xfrm>
              <a:off x="2271713" y="174148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Rectangle 242"/>
            <p:cNvSpPr>
              <a:spLocks noChangeArrowheads="1"/>
            </p:cNvSpPr>
            <p:nvPr/>
          </p:nvSpPr>
          <p:spPr bwMode="auto">
            <a:xfrm>
              <a:off x="2271713" y="1752600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Rectangle 243"/>
            <p:cNvSpPr>
              <a:spLocks noChangeArrowheads="1"/>
            </p:cNvSpPr>
            <p:nvPr/>
          </p:nvSpPr>
          <p:spPr bwMode="auto">
            <a:xfrm>
              <a:off x="2271713" y="1763713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Rectangle 244"/>
            <p:cNvSpPr>
              <a:spLocks noChangeArrowheads="1"/>
            </p:cNvSpPr>
            <p:nvPr/>
          </p:nvSpPr>
          <p:spPr bwMode="auto">
            <a:xfrm>
              <a:off x="2271713" y="177482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Rectangle 245"/>
            <p:cNvSpPr>
              <a:spLocks noChangeArrowheads="1"/>
            </p:cNvSpPr>
            <p:nvPr/>
          </p:nvSpPr>
          <p:spPr bwMode="auto">
            <a:xfrm>
              <a:off x="2271713" y="178593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Rectangle 246"/>
            <p:cNvSpPr>
              <a:spLocks noChangeArrowheads="1"/>
            </p:cNvSpPr>
            <p:nvPr/>
          </p:nvSpPr>
          <p:spPr bwMode="auto">
            <a:xfrm>
              <a:off x="2271713" y="1792288"/>
              <a:ext cx="320675" cy="3175"/>
            </a:xfrm>
            <a:prstGeom prst="rect">
              <a:avLst/>
            </a:pr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2201863" y="1725613"/>
              <a:ext cx="69850" cy="69850"/>
            </a:xfrm>
            <a:custGeom>
              <a:avLst/>
              <a:gdLst>
                <a:gd name="T0" fmla="*/ 228 w 228"/>
                <a:gd name="T1" fmla="*/ 0 h 228"/>
                <a:gd name="T2" fmla="*/ 67 w 228"/>
                <a:gd name="T3" fmla="*/ 67 h 228"/>
                <a:gd name="T4" fmla="*/ 67 w 228"/>
                <a:gd name="T5" fmla="*/ 67 h 228"/>
                <a:gd name="T6" fmla="*/ 0 w 228"/>
                <a:gd name="T7" fmla="*/ 228 h 228"/>
                <a:gd name="T8" fmla="*/ 61 w 228"/>
                <a:gd name="T9" fmla="*/ 228 h 228"/>
                <a:gd name="T10" fmla="*/ 110 w 228"/>
                <a:gd name="T11" fmla="*/ 110 h 228"/>
                <a:gd name="T12" fmla="*/ 110 w 228"/>
                <a:gd name="T13" fmla="*/ 110 h 228"/>
                <a:gd name="T14" fmla="*/ 228 w 228"/>
                <a:gd name="T15" fmla="*/ 61 h 228"/>
                <a:gd name="T16" fmla="*/ 228 w 228"/>
                <a:gd name="T17" fmla="*/ 61 h 228"/>
                <a:gd name="T18" fmla="*/ 228 w 228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228" y="0"/>
                  </a:moveTo>
                  <a:cubicBezTo>
                    <a:pt x="165" y="0"/>
                    <a:pt x="108" y="25"/>
                    <a:pt x="67" y="67"/>
                  </a:cubicBezTo>
                  <a:lnTo>
                    <a:pt x="67" y="67"/>
                  </a:lnTo>
                  <a:cubicBezTo>
                    <a:pt x="25" y="108"/>
                    <a:pt x="0" y="165"/>
                    <a:pt x="0" y="228"/>
                  </a:cubicBezTo>
                  <a:lnTo>
                    <a:pt x="61" y="228"/>
                  </a:lnTo>
                  <a:cubicBezTo>
                    <a:pt x="61" y="182"/>
                    <a:pt x="80" y="140"/>
                    <a:pt x="110" y="110"/>
                  </a:cubicBezTo>
                  <a:lnTo>
                    <a:pt x="110" y="110"/>
                  </a:lnTo>
                  <a:cubicBezTo>
                    <a:pt x="141" y="80"/>
                    <a:pt x="182" y="61"/>
                    <a:pt x="228" y="61"/>
                  </a:cubicBezTo>
                  <a:lnTo>
                    <a:pt x="228" y="6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2206625" y="1730375"/>
              <a:ext cx="65088" cy="65087"/>
            </a:xfrm>
            <a:custGeom>
              <a:avLst/>
              <a:gdLst>
                <a:gd name="T0" fmla="*/ 210 w 211"/>
                <a:gd name="T1" fmla="*/ 0 h 210"/>
                <a:gd name="T2" fmla="*/ 62 w 211"/>
                <a:gd name="T3" fmla="*/ 61 h 210"/>
                <a:gd name="T4" fmla="*/ 62 w 211"/>
                <a:gd name="T5" fmla="*/ 62 h 210"/>
                <a:gd name="T6" fmla="*/ 0 w 211"/>
                <a:gd name="T7" fmla="*/ 210 h 210"/>
                <a:gd name="T8" fmla="*/ 57 w 211"/>
                <a:gd name="T9" fmla="*/ 210 h 210"/>
                <a:gd name="T10" fmla="*/ 102 w 211"/>
                <a:gd name="T11" fmla="*/ 102 h 210"/>
                <a:gd name="T12" fmla="*/ 102 w 211"/>
                <a:gd name="T13" fmla="*/ 102 h 210"/>
                <a:gd name="T14" fmla="*/ 210 w 211"/>
                <a:gd name="T15" fmla="*/ 56 h 210"/>
                <a:gd name="T16" fmla="*/ 211 w 211"/>
                <a:gd name="T17" fmla="*/ 56 h 210"/>
                <a:gd name="T18" fmla="*/ 211 w 211"/>
                <a:gd name="T19" fmla="*/ 0 h 210"/>
                <a:gd name="T20" fmla="*/ 210 w 211"/>
                <a:gd name="T2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210">
                  <a:moveTo>
                    <a:pt x="210" y="0"/>
                  </a:moveTo>
                  <a:cubicBezTo>
                    <a:pt x="152" y="0"/>
                    <a:pt x="100" y="23"/>
                    <a:pt x="62" y="61"/>
                  </a:cubicBezTo>
                  <a:lnTo>
                    <a:pt x="62" y="62"/>
                  </a:lnTo>
                  <a:cubicBezTo>
                    <a:pt x="23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30" y="74"/>
                    <a:pt x="168" y="56"/>
                    <a:pt x="210" y="56"/>
                  </a:cubicBezTo>
                  <a:lnTo>
                    <a:pt x="211" y="56"/>
                  </a:lnTo>
                  <a:lnTo>
                    <a:pt x="211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49"/>
            <p:cNvSpPr>
              <a:spLocks/>
            </p:cNvSpPr>
            <p:nvPr/>
          </p:nvSpPr>
          <p:spPr bwMode="auto">
            <a:xfrm>
              <a:off x="2212975" y="1736725"/>
              <a:ext cx="58738" cy="58737"/>
            </a:xfrm>
            <a:custGeom>
              <a:avLst/>
              <a:gdLst>
                <a:gd name="T0" fmla="*/ 193 w 193"/>
                <a:gd name="T1" fmla="*/ 0 h 192"/>
                <a:gd name="T2" fmla="*/ 56 w 193"/>
                <a:gd name="T3" fmla="*/ 56 h 192"/>
                <a:gd name="T4" fmla="*/ 56 w 193"/>
                <a:gd name="T5" fmla="*/ 56 h 192"/>
                <a:gd name="T6" fmla="*/ 0 w 193"/>
                <a:gd name="T7" fmla="*/ 192 h 192"/>
                <a:gd name="T8" fmla="*/ 52 w 193"/>
                <a:gd name="T9" fmla="*/ 192 h 192"/>
                <a:gd name="T10" fmla="*/ 93 w 193"/>
                <a:gd name="T11" fmla="*/ 93 h 192"/>
                <a:gd name="T12" fmla="*/ 93 w 193"/>
                <a:gd name="T13" fmla="*/ 93 h 192"/>
                <a:gd name="T14" fmla="*/ 193 w 193"/>
                <a:gd name="T15" fmla="*/ 52 h 192"/>
                <a:gd name="T16" fmla="*/ 193 w 193"/>
                <a:gd name="T17" fmla="*/ 52 h 192"/>
                <a:gd name="T18" fmla="*/ 193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193" y="0"/>
                  </a:moveTo>
                  <a:cubicBezTo>
                    <a:pt x="139" y="0"/>
                    <a:pt x="91" y="21"/>
                    <a:pt x="56" y="56"/>
                  </a:cubicBezTo>
                  <a:lnTo>
                    <a:pt x="56" y="56"/>
                  </a:lnTo>
                  <a:cubicBezTo>
                    <a:pt x="21" y="91"/>
                    <a:pt x="0" y="139"/>
                    <a:pt x="0" y="192"/>
                  </a:cubicBezTo>
                  <a:lnTo>
                    <a:pt x="52" y="192"/>
                  </a:lnTo>
                  <a:cubicBezTo>
                    <a:pt x="52" y="153"/>
                    <a:pt x="68" y="118"/>
                    <a:pt x="93" y="93"/>
                  </a:cubicBezTo>
                  <a:lnTo>
                    <a:pt x="93" y="93"/>
                  </a:lnTo>
                  <a:cubicBezTo>
                    <a:pt x="119" y="67"/>
                    <a:pt x="154" y="52"/>
                    <a:pt x="193" y="52"/>
                  </a:cubicBezTo>
                  <a:lnTo>
                    <a:pt x="193" y="5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50"/>
            <p:cNvSpPr>
              <a:spLocks/>
            </p:cNvSpPr>
            <p:nvPr/>
          </p:nvSpPr>
          <p:spPr bwMode="auto">
            <a:xfrm>
              <a:off x="2217738" y="1741488"/>
              <a:ext cx="53975" cy="53975"/>
            </a:xfrm>
            <a:custGeom>
              <a:avLst/>
              <a:gdLst>
                <a:gd name="T0" fmla="*/ 175 w 175"/>
                <a:gd name="T1" fmla="*/ 0 h 174"/>
                <a:gd name="T2" fmla="*/ 51 w 175"/>
                <a:gd name="T3" fmla="*/ 51 h 174"/>
                <a:gd name="T4" fmla="*/ 51 w 175"/>
                <a:gd name="T5" fmla="*/ 51 h 174"/>
                <a:gd name="T6" fmla="*/ 0 w 175"/>
                <a:gd name="T7" fmla="*/ 174 h 174"/>
                <a:gd name="T8" fmla="*/ 47 w 175"/>
                <a:gd name="T9" fmla="*/ 174 h 174"/>
                <a:gd name="T10" fmla="*/ 84 w 175"/>
                <a:gd name="T11" fmla="*/ 84 h 174"/>
                <a:gd name="T12" fmla="*/ 84 w 175"/>
                <a:gd name="T13" fmla="*/ 84 h 174"/>
                <a:gd name="T14" fmla="*/ 175 w 175"/>
                <a:gd name="T15" fmla="*/ 47 h 174"/>
                <a:gd name="T16" fmla="*/ 175 w 175"/>
                <a:gd name="T17" fmla="*/ 47 h 174"/>
                <a:gd name="T18" fmla="*/ 175 w 175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4">
                  <a:moveTo>
                    <a:pt x="175" y="0"/>
                  </a:moveTo>
                  <a:cubicBezTo>
                    <a:pt x="126" y="0"/>
                    <a:pt x="83" y="19"/>
                    <a:pt x="51" y="51"/>
                  </a:cubicBezTo>
                  <a:lnTo>
                    <a:pt x="51" y="51"/>
                  </a:lnTo>
                  <a:cubicBezTo>
                    <a:pt x="20" y="83"/>
                    <a:pt x="0" y="126"/>
                    <a:pt x="0" y="174"/>
                  </a:cubicBezTo>
                  <a:lnTo>
                    <a:pt x="47" y="174"/>
                  </a:lnTo>
                  <a:cubicBezTo>
                    <a:pt x="47" y="139"/>
                    <a:pt x="61" y="107"/>
                    <a:pt x="84" y="84"/>
                  </a:cubicBezTo>
                  <a:lnTo>
                    <a:pt x="84" y="84"/>
                  </a:lnTo>
                  <a:cubicBezTo>
                    <a:pt x="107" y="61"/>
                    <a:pt x="139" y="47"/>
                    <a:pt x="175" y="47"/>
                  </a:cubicBezTo>
                  <a:lnTo>
                    <a:pt x="175" y="47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2224088" y="1747838"/>
              <a:ext cx="47625" cy="47625"/>
            </a:xfrm>
            <a:custGeom>
              <a:avLst/>
              <a:gdLst>
                <a:gd name="T0" fmla="*/ 157 w 157"/>
                <a:gd name="T1" fmla="*/ 0 h 156"/>
                <a:gd name="T2" fmla="*/ 46 w 157"/>
                <a:gd name="T3" fmla="*/ 46 h 156"/>
                <a:gd name="T4" fmla="*/ 46 w 157"/>
                <a:gd name="T5" fmla="*/ 46 h 156"/>
                <a:gd name="T6" fmla="*/ 0 w 157"/>
                <a:gd name="T7" fmla="*/ 156 h 156"/>
                <a:gd name="T8" fmla="*/ 42 w 157"/>
                <a:gd name="T9" fmla="*/ 156 h 156"/>
                <a:gd name="T10" fmla="*/ 76 w 157"/>
                <a:gd name="T11" fmla="*/ 76 h 156"/>
                <a:gd name="T12" fmla="*/ 76 w 157"/>
                <a:gd name="T13" fmla="*/ 76 h 156"/>
                <a:gd name="T14" fmla="*/ 157 w 157"/>
                <a:gd name="T15" fmla="*/ 42 h 156"/>
                <a:gd name="T16" fmla="*/ 157 w 157"/>
                <a:gd name="T17" fmla="*/ 42 h 156"/>
                <a:gd name="T18" fmla="*/ 157 w 157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157" y="0"/>
                  </a:moveTo>
                  <a:cubicBezTo>
                    <a:pt x="113" y="0"/>
                    <a:pt x="74" y="17"/>
                    <a:pt x="46" y="46"/>
                  </a:cubicBezTo>
                  <a:lnTo>
                    <a:pt x="46" y="46"/>
                  </a:lnTo>
                  <a:cubicBezTo>
                    <a:pt x="18" y="74"/>
                    <a:pt x="0" y="113"/>
                    <a:pt x="0" y="156"/>
                  </a:cubicBezTo>
                  <a:lnTo>
                    <a:pt x="42" y="156"/>
                  </a:lnTo>
                  <a:cubicBezTo>
                    <a:pt x="42" y="125"/>
                    <a:pt x="55" y="96"/>
                    <a:pt x="76" y="76"/>
                  </a:cubicBezTo>
                  <a:lnTo>
                    <a:pt x="76" y="76"/>
                  </a:lnTo>
                  <a:cubicBezTo>
                    <a:pt x="96" y="55"/>
                    <a:pt x="125" y="42"/>
                    <a:pt x="157" y="42"/>
                  </a:cubicBezTo>
                  <a:lnTo>
                    <a:pt x="157" y="4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52"/>
            <p:cNvSpPr>
              <a:spLocks/>
            </p:cNvSpPr>
            <p:nvPr/>
          </p:nvSpPr>
          <p:spPr bwMode="auto">
            <a:xfrm>
              <a:off x="2228850" y="1752600"/>
              <a:ext cx="42863" cy="42862"/>
            </a:xfrm>
            <a:custGeom>
              <a:avLst/>
              <a:gdLst>
                <a:gd name="T0" fmla="*/ 139 w 139"/>
                <a:gd name="T1" fmla="*/ 0 h 138"/>
                <a:gd name="T2" fmla="*/ 41 w 139"/>
                <a:gd name="T3" fmla="*/ 40 h 138"/>
                <a:gd name="T4" fmla="*/ 41 w 139"/>
                <a:gd name="T5" fmla="*/ 41 h 138"/>
                <a:gd name="T6" fmla="*/ 0 w 139"/>
                <a:gd name="T7" fmla="*/ 138 h 138"/>
                <a:gd name="T8" fmla="*/ 37 w 139"/>
                <a:gd name="T9" fmla="*/ 138 h 138"/>
                <a:gd name="T10" fmla="*/ 67 w 139"/>
                <a:gd name="T11" fmla="*/ 67 h 138"/>
                <a:gd name="T12" fmla="*/ 67 w 139"/>
                <a:gd name="T13" fmla="*/ 67 h 138"/>
                <a:gd name="T14" fmla="*/ 139 w 139"/>
                <a:gd name="T15" fmla="*/ 37 h 138"/>
                <a:gd name="T16" fmla="*/ 139 w 139"/>
                <a:gd name="T17" fmla="*/ 37 h 138"/>
                <a:gd name="T18" fmla="*/ 139 w 139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8">
                  <a:moveTo>
                    <a:pt x="139" y="0"/>
                  </a:moveTo>
                  <a:cubicBezTo>
                    <a:pt x="100" y="0"/>
                    <a:pt x="66" y="15"/>
                    <a:pt x="41" y="40"/>
                  </a:cubicBezTo>
                  <a:lnTo>
                    <a:pt x="41" y="41"/>
                  </a:lnTo>
                  <a:cubicBezTo>
                    <a:pt x="16" y="66"/>
                    <a:pt x="0" y="100"/>
                    <a:pt x="0" y="138"/>
                  </a:cubicBezTo>
                  <a:lnTo>
                    <a:pt x="37" y="138"/>
                  </a:lnTo>
                  <a:cubicBezTo>
                    <a:pt x="37" y="110"/>
                    <a:pt x="49" y="85"/>
                    <a:pt x="67" y="67"/>
                  </a:cubicBezTo>
                  <a:lnTo>
                    <a:pt x="67" y="67"/>
                  </a:lnTo>
                  <a:cubicBezTo>
                    <a:pt x="85" y="49"/>
                    <a:pt x="111" y="37"/>
                    <a:pt x="139" y="37"/>
                  </a:cubicBezTo>
                  <a:lnTo>
                    <a:pt x="139" y="3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53"/>
            <p:cNvSpPr>
              <a:spLocks/>
            </p:cNvSpPr>
            <p:nvPr/>
          </p:nvSpPr>
          <p:spPr bwMode="auto">
            <a:xfrm>
              <a:off x="2235200" y="1758950"/>
              <a:ext cx="36513" cy="36512"/>
            </a:xfrm>
            <a:custGeom>
              <a:avLst/>
              <a:gdLst>
                <a:gd name="T0" fmla="*/ 121 w 121"/>
                <a:gd name="T1" fmla="*/ 0 h 120"/>
                <a:gd name="T2" fmla="*/ 35 w 121"/>
                <a:gd name="T3" fmla="*/ 35 h 120"/>
                <a:gd name="T4" fmla="*/ 35 w 121"/>
                <a:gd name="T5" fmla="*/ 35 h 120"/>
                <a:gd name="T6" fmla="*/ 0 w 121"/>
                <a:gd name="T7" fmla="*/ 120 h 120"/>
                <a:gd name="T8" fmla="*/ 33 w 121"/>
                <a:gd name="T9" fmla="*/ 120 h 120"/>
                <a:gd name="T10" fmla="*/ 58 w 121"/>
                <a:gd name="T11" fmla="*/ 58 h 120"/>
                <a:gd name="T12" fmla="*/ 58 w 121"/>
                <a:gd name="T13" fmla="*/ 58 h 120"/>
                <a:gd name="T14" fmla="*/ 121 w 121"/>
                <a:gd name="T15" fmla="*/ 32 h 120"/>
                <a:gd name="T16" fmla="*/ 121 w 121"/>
                <a:gd name="T17" fmla="*/ 32 h 120"/>
                <a:gd name="T18" fmla="*/ 121 w 121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0">
                  <a:moveTo>
                    <a:pt x="121" y="0"/>
                  </a:moveTo>
                  <a:cubicBezTo>
                    <a:pt x="87" y="0"/>
                    <a:pt x="57" y="13"/>
                    <a:pt x="35" y="35"/>
                  </a:cubicBezTo>
                  <a:lnTo>
                    <a:pt x="35" y="35"/>
                  </a:lnTo>
                  <a:cubicBezTo>
                    <a:pt x="14" y="57"/>
                    <a:pt x="0" y="87"/>
                    <a:pt x="0" y="120"/>
                  </a:cubicBezTo>
                  <a:lnTo>
                    <a:pt x="33" y="120"/>
                  </a:lnTo>
                  <a:cubicBezTo>
                    <a:pt x="33" y="96"/>
                    <a:pt x="43" y="74"/>
                    <a:pt x="58" y="58"/>
                  </a:cubicBezTo>
                  <a:lnTo>
                    <a:pt x="58" y="58"/>
                  </a:lnTo>
                  <a:cubicBezTo>
                    <a:pt x="74" y="42"/>
                    <a:pt x="96" y="32"/>
                    <a:pt x="121" y="32"/>
                  </a:cubicBezTo>
                  <a:lnTo>
                    <a:pt x="121" y="3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54"/>
            <p:cNvSpPr>
              <a:spLocks/>
            </p:cNvSpPr>
            <p:nvPr/>
          </p:nvSpPr>
          <p:spPr bwMode="auto">
            <a:xfrm>
              <a:off x="2239963" y="1763713"/>
              <a:ext cx="31750" cy="31750"/>
            </a:xfrm>
            <a:custGeom>
              <a:avLst/>
              <a:gdLst>
                <a:gd name="T0" fmla="*/ 103 w 103"/>
                <a:gd name="T1" fmla="*/ 0 h 102"/>
                <a:gd name="T2" fmla="*/ 30 w 103"/>
                <a:gd name="T3" fmla="*/ 30 h 102"/>
                <a:gd name="T4" fmla="*/ 30 w 103"/>
                <a:gd name="T5" fmla="*/ 30 h 102"/>
                <a:gd name="T6" fmla="*/ 0 w 103"/>
                <a:gd name="T7" fmla="*/ 102 h 102"/>
                <a:gd name="T8" fmla="*/ 28 w 103"/>
                <a:gd name="T9" fmla="*/ 102 h 102"/>
                <a:gd name="T10" fmla="*/ 50 w 103"/>
                <a:gd name="T11" fmla="*/ 50 h 102"/>
                <a:gd name="T12" fmla="*/ 50 w 103"/>
                <a:gd name="T13" fmla="*/ 50 h 102"/>
                <a:gd name="T14" fmla="*/ 103 w 103"/>
                <a:gd name="T15" fmla="*/ 28 h 102"/>
                <a:gd name="T16" fmla="*/ 103 w 103"/>
                <a:gd name="T17" fmla="*/ 28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74" y="0"/>
                    <a:pt x="49" y="12"/>
                    <a:pt x="30" y="30"/>
                  </a:cubicBezTo>
                  <a:lnTo>
                    <a:pt x="30" y="30"/>
                  </a:lnTo>
                  <a:cubicBezTo>
                    <a:pt x="12" y="49"/>
                    <a:pt x="0" y="74"/>
                    <a:pt x="0" y="102"/>
                  </a:cubicBezTo>
                  <a:lnTo>
                    <a:pt x="28" y="102"/>
                  </a:lnTo>
                  <a:cubicBezTo>
                    <a:pt x="28" y="82"/>
                    <a:pt x="36" y="63"/>
                    <a:pt x="50" y="50"/>
                  </a:cubicBezTo>
                  <a:lnTo>
                    <a:pt x="50" y="50"/>
                  </a:lnTo>
                  <a:cubicBezTo>
                    <a:pt x="63" y="36"/>
                    <a:pt x="82" y="28"/>
                    <a:pt x="103" y="28"/>
                  </a:cubicBezTo>
                  <a:lnTo>
                    <a:pt x="103" y="2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2246313" y="1770063"/>
              <a:ext cx="25400" cy="25400"/>
            </a:xfrm>
            <a:custGeom>
              <a:avLst/>
              <a:gdLst>
                <a:gd name="T0" fmla="*/ 85 w 85"/>
                <a:gd name="T1" fmla="*/ 0 h 84"/>
                <a:gd name="T2" fmla="*/ 25 w 85"/>
                <a:gd name="T3" fmla="*/ 25 h 84"/>
                <a:gd name="T4" fmla="*/ 25 w 85"/>
                <a:gd name="T5" fmla="*/ 25 h 84"/>
                <a:gd name="T6" fmla="*/ 0 w 85"/>
                <a:gd name="T7" fmla="*/ 84 h 84"/>
                <a:gd name="T8" fmla="*/ 23 w 85"/>
                <a:gd name="T9" fmla="*/ 84 h 84"/>
                <a:gd name="T10" fmla="*/ 41 w 85"/>
                <a:gd name="T11" fmla="*/ 41 h 84"/>
                <a:gd name="T12" fmla="*/ 41 w 85"/>
                <a:gd name="T13" fmla="*/ 41 h 84"/>
                <a:gd name="T14" fmla="*/ 85 w 85"/>
                <a:gd name="T15" fmla="*/ 23 h 84"/>
                <a:gd name="T16" fmla="*/ 85 w 85"/>
                <a:gd name="T17" fmla="*/ 23 h 84"/>
                <a:gd name="T18" fmla="*/ 85 w 85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85" y="0"/>
                  </a:moveTo>
                  <a:cubicBezTo>
                    <a:pt x="61" y="0"/>
                    <a:pt x="40" y="10"/>
                    <a:pt x="25" y="25"/>
                  </a:cubicBezTo>
                  <a:lnTo>
                    <a:pt x="25" y="25"/>
                  </a:lnTo>
                  <a:cubicBezTo>
                    <a:pt x="10" y="40"/>
                    <a:pt x="0" y="61"/>
                    <a:pt x="0" y="84"/>
                  </a:cubicBezTo>
                  <a:lnTo>
                    <a:pt x="23" y="84"/>
                  </a:lnTo>
                  <a:cubicBezTo>
                    <a:pt x="23" y="67"/>
                    <a:pt x="30" y="52"/>
                    <a:pt x="41" y="41"/>
                  </a:cubicBezTo>
                  <a:lnTo>
                    <a:pt x="41" y="41"/>
                  </a:lnTo>
                  <a:cubicBezTo>
                    <a:pt x="52" y="30"/>
                    <a:pt x="68" y="23"/>
                    <a:pt x="85" y="23"/>
                  </a:cubicBezTo>
                  <a:lnTo>
                    <a:pt x="85" y="23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2251075" y="1774825"/>
              <a:ext cx="20638" cy="20637"/>
            </a:xfrm>
            <a:custGeom>
              <a:avLst/>
              <a:gdLst>
                <a:gd name="T0" fmla="*/ 67 w 67"/>
                <a:gd name="T1" fmla="*/ 0 h 66"/>
                <a:gd name="T2" fmla="*/ 20 w 67"/>
                <a:gd name="T3" fmla="*/ 19 h 66"/>
                <a:gd name="T4" fmla="*/ 20 w 67"/>
                <a:gd name="T5" fmla="*/ 19 h 66"/>
                <a:gd name="T6" fmla="*/ 0 w 67"/>
                <a:gd name="T7" fmla="*/ 66 h 66"/>
                <a:gd name="T8" fmla="*/ 9 w 67"/>
                <a:gd name="T9" fmla="*/ 66 h 66"/>
                <a:gd name="T10" fmla="*/ 18 w 67"/>
                <a:gd name="T11" fmla="*/ 66 h 66"/>
                <a:gd name="T12" fmla="*/ 67 w 67"/>
                <a:gd name="T13" fmla="*/ 66 h 66"/>
                <a:gd name="T14" fmla="*/ 67 w 67"/>
                <a:gd name="T15" fmla="*/ 47 h 66"/>
                <a:gd name="T16" fmla="*/ 67 w 67"/>
                <a:gd name="T17" fmla="*/ 43 h 66"/>
                <a:gd name="T18" fmla="*/ 67 w 67"/>
                <a:gd name="T19" fmla="*/ 18 h 66"/>
                <a:gd name="T20" fmla="*/ 67 w 67"/>
                <a:gd name="T21" fmla="*/ 18 h 66"/>
                <a:gd name="T22" fmla="*/ 67 w 67"/>
                <a:gd name="T23" fmla="*/ 15 h 66"/>
                <a:gd name="T24" fmla="*/ 67 w 67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6">
                  <a:moveTo>
                    <a:pt x="67" y="0"/>
                  </a:moveTo>
                  <a:cubicBezTo>
                    <a:pt x="48" y="0"/>
                    <a:pt x="32" y="7"/>
                    <a:pt x="20" y="19"/>
                  </a:cubicBezTo>
                  <a:lnTo>
                    <a:pt x="20" y="19"/>
                  </a:lnTo>
                  <a:cubicBezTo>
                    <a:pt x="8" y="32"/>
                    <a:pt x="0" y="48"/>
                    <a:pt x="0" y="66"/>
                  </a:cubicBezTo>
                  <a:lnTo>
                    <a:pt x="9" y="66"/>
                  </a:lnTo>
                  <a:lnTo>
                    <a:pt x="18" y="66"/>
                  </a:lnTo>
                  <a:lnTo>
                    <a:pt x="67" y="66"/>
                  </a:lnTo>
                  <a:lnTo>
                    <a:pt x="67" y="47"/>
                  </a:lnTo>
                  <a:lnTo>
                    <a:pt x="67" y="43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2257425" y="1781175"/>
              <a:ext cx="14288" cy="14287"/>
            </a:xfrm>
            <a:custGeom>
              <a:avLst/>
              <a:gdLst>
                <a:gd name="T0" fmla="*/ 49 w 49"/>
                <a:gd name="T1" fmla="*/ 0 h 48"/>
                <a:gd name="T2" fmla="*/ 14 w 49"/>
                <a:gd name="T3" fmla="*/ 14 h 48"/>
                <a:gd name="T4" fmla="*/ 14 w 49"/>
                <a:gd name="T5" fmla="*/ 14 h 48"/>
                <a:gd name="T6" fmla="*/ 0 w 49"/>
                <a:gd name="T7" fmla="*/ 48 h 48"/>
                <a:gd name="T8" fmla="*/ 7 w 49"/>
                <a:gd name="T9" fmla="*/ 48 h 48"/>
                <a:gd name="T10" fmla="*/ 13 w 49"/>
                <a:gd name="T11" fmla="*/ 48 h 48"/>
                <a:gd name="T12" fmla="*/ 49 w 49"/>
                <a:gd name="T13" fmla="*/ 48 h 48"/>
                <a:gd name="T14" fmla="*/ 49 w 49"/>
                <a:gd name="T15" fmla="*/ 34 h 48"/>
                <a:gd name="T16" fmla="*/ 49 w 49"/>
                <a:gd name="T17" fmla="*/ 31 h 48"/>
                <a:gd name="T18" fmla="*/ 49 w 49"/>
                <a:gd name="T19" fmla="*/ 13 h 48"/>
                <a:gd name="T20" fmla="*/ 49 w 49"/>
                <a:gd name="T21" fmla="*/ 13 h 48"/>
                <a:gd name="T22" fmla="*/ 49 w 49"/>
                <a:gd name="T23" fmla="*/ 11 h 48"/>
                <a:gd name="T24" fmla="*/ 49 w 4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8">
                  <a:moveTo>
                    <a:pt x="49" y="0"/>
                  </a:moveTo>
                  <a:cubicBezTo>
                    <a:pt x="35" y="0"/>
                    <a:pt x="23" y="5"/>
                    <a:pt x="14" y="14"/>
                  </a:cubicBezTo>
                  <a:lnTo>
                    <a:pt x="14" y="14"/>
                  </a:lnTo>
                  <a:cubicBezTo>
                    <a:pt x="6" y="23"/>
                    <a:pt x="0" y="35"/>
                    <a:pt x="0" y="48"/>
                  </a:cubicBezTo>
                  <a:lnTo>
                    <a:pt x="7" y="48"/>
                  </a:lnTo>
                  <a:lnTo>
                    <a:pt x="13" y="48"/>
                  </a:lnTo>
                  <a:lnTo>
                    <a:pt x="49" y="48"/>
                  </a:lnTo>
                  <a:lnTo>
                    <a:pt x="49" y="34"/>
                  </a:lnTo>
                  <a:lnTo>
                    <a:pt x="49" y="3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2262188" y="1785938"/>
              <a:ext cx="9525" cy="9525"/>
            </a:xfrm>
            <a:custGeom>
              <a:avLst/>
              <a:gdLst>
                <a:gd name="T0" fmla="*/ 31 w 31"/>
                <a:gd name="T1" fmla="*/ 0 h 30"/>
                <a:gd name="T2" fmla="*/ 9 w 31"/>
                <a:gd name="T3" fmla="*/ 9 h 30"/>
                <a:gd name="T4" fmla="*/ 9 w 31"/>
                <a:gd name="T5" fmla="*/ 9 h 30"/>
                <a:gd name="T6" fmla="*/ 0 w 31"/>
                <a:gd name="T7" fmla="*/ 30 h 30"/>
                <a:gd name="T8" fmla="*/ 31 w 31"/>
                <a:gd name="T9" fmla="*/ 30 h 30"/>
                <a:gd name="T10" fmla="*/ 31 w 31"/>
                <a:gd name="T11" fmla="*/ 22 h 30"/>
                <a:gd name="T12" fmla="*/ 31 w 31"/>
                <a:gd name="T13" fmla="*/ 20 h 30"/>
                <a:gd name="T14" fmla="*/ 31 w 31"/>
                <a:gd name="T15" fmla="*/ 8 h 30"/>
                <a:gd name="T16" fmla="*/ 31 w 31"/>
                <a:gd name="T17" fmla="*/ 8 h 30"/>
                <a:gd name="T18" fmla="*/ 31 w 31"/>
                <a:gd name="T19" fmla="*/ 7 h 30"/>
                <a:gd name="T20" fmla="*/ 31 w 31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0">
                  <a:moveTo>
                    <a:pt x="31" y="0"/>
                  </a:moveTo>
                  <a:cubicBezTo>
                    <a:pt x="22" y="0"/>
                    <a:pt x="15" y="4"/>
                    <a:pt x="9" y="9"/>
                  </a:cubicBezTo>
                  <a:lnTo>
                    <a:pt x="9" y="9"/>
                  </a:lnTo>
                  <a:cubicBezTo>
                    <a:pt x="4" y="14"/>
                    <a:pt x="0" y="22"/>
                    <a:pt x="0" y="30"/>
                  </a:cubicBezTo>
                  <a:lnTo>
                    <a:pt x="31" y="30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2268538" y="1792288"/>
              <a:ext cx="3175" cy="3175"/>
            </a:xfrm>
            <a:custGeom>
              <a:avLst/>
              <a:gdLst>
                <a:gd name="T0" fmla="*/ 13 w 13"/>
                <a:gd name="T1" fmla="*/ 0 h 12"/>
                <a:gd name="T2" fmla="*/ 4 w 13"/>
                <a:gd name="T3" fmla="*/ 4 h 12"/>
                <a:gd name="T4" fmla="*/ 4 w 13"/>
                <a:gd name="T5" fmla="*/ 4 h 12"/>
                <a:gd name="T6" fmla="*/ 0 w 13"/>
                <a:gd name="T7" fmla="*/ 12 h 12"/>
                <a:gd name="T8" fmla="*/ 13 w 13"/>
                <a:gd name="T9" fmla="*/ 12 h 12"/>
                <a:gd name="T10" fmla="*/ 13 w 13"/>
                <a:gd name="T11" fmla="*/ 9 h 12"/>
                <a:gd name="T12" fmla="*/ 13 w 13"/>
                <a:gd name="T13" fmla="*/ 8 h 12"/>
                <a:gd name="T14" fmla="*/ 13 w 13"/>
                <a:gd name="T15" fmla="*/ 3 h 12"/>
                <a:gd name="T16" fmla="*/ 13 w 13"/>
                <a:gd name="T17" fmla="*/ 3 h 12"/>
                <a:gd name="T18" fmla="*/ 13 w 13"/>
                <a:gd name="T19" fmla="*/ 3 h 12"/>
                <a:gd name="T20" fmla="*/ 13 w 1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cubicBezTo>
                    <a:pt x="9" y="0"/>
                    <a:pt x="6" y="2"/>
                    <a:pt x="4" y="4"/>
                  </a:cubicBezTo>
                  <a:lnTo>
                    <a:pt x="4" y="4"/>
                  </a:lnTo>
                  <a:cubicBezTo>
                    <a:pt x="2" y="6"/>
                    <a:pt x="0" y="9"/>
                    <a:pt x="0" y="12"/>
                  </a:cubicBezTo>
                  <a:lnTo>
                    <a:pt x="13" y="12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2130425" y="1795463"/>
              <a:ext cx="141288" cy="30162"/>
            </a:xfrm>
            <a:custGeom>
              <a:avLst/>
              <a:gdLst>
                <a:gd name="T0" fmla="*/ 0 w 458"/>
                <a:gd name="T1" fmla="*/ 0 h 100"/>
                <a:gd name="T2" fmla="*/ 458 w 458"/>
                <a:gd name="T3" fmla="*/ 0 h 100"/>
                <a:gd name="T4" fmla="*/ 458 w 458"/>
                <a:gd name="T5" fmla="*/ 50 h 100"/>
                <a:gd name="T6" fmla="*/ 404 w 458"/>
                <a:gd name="T7" fmla="*/ 100 h 100"/>
                <a:gd name="T8" fmla="*/ 54 w 458"/>
                <a:gd name="T9" fmla="*/ 100 h 100"/>
                <a:gd name="T10" fmla="*/ 0 w 458"/>
                <a:gd name="T11" fmla="*/ 50 h 100"/>
                <a:gd name="T12" fmla="*/ 0 w 458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100">
                  <a:moveTo>
                    <a:pt x="0" y="0"/>
                  </a:moveTo>
                  <a:lnTo>
                    <a:pt x="458" y="0"/>
                  </a:lnTo>
                  <a:lnTo>
                    <a:pt x="458" y="50"/>
                  </a:lnTo>
                  <a:cubicBezTo>
                    <a:pt x="458" y="77"/>
                    <a:pt x="433" y="100"/>
                    <a:pt x="404" y="100"/>
                  </a:cubicBezTo>
                  <a:lnTo>
                    <a:pt x="54" y="100"/>
                  </a:lnTo>
                  <a:cubicBezTo>
                    <a:pt x="24" y="100"/>
                    <a:pt x="0" y="77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Rectangle 261"/>
            <p:cNvSpPr>
              <a:spLocks noChangeArrowheads="1"/>
            </p:cNvSpPr>
            <p:nvPr/>
          </p:nvSpPr>
          <p:spPr bwMode="auto">
            <a:xfrm>
              <a:off x="1798638" y="1795463"/>
              <a:ext cx="331788" cy="14287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Rectangle 262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12700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Rectangle 263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6350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425450" y="1206500"/>
              <a:ext cx="968375" cy="676275"/>
            </a:xfrm>
            <a:custGeom>
              <a:avLst/>
              <a:gdLst>
                <a:gd name="T0" fmla="*/ 101 w 3142"/>
                <a:gd name="T1" fmla="*/ 0 h 2200"/>
                <a:gd name="T2" fmla="*/ 3041 w 3142"/>
                <a:gd name="T3" fmla="*/ 0 h 2200"/>
                <a:gd name="T4" fmla="*/ 3142 w 3142"/>
                <a:gd name="T5" fmla="*/ 101 h 2200"/>
                <a:gd name="T6" fmla="*/ 3142 w 3142"/>
                <a:gd name="T7" fmla="*/ 2099 h 2200"/>
                <a:gd name="T8" fmla="*/ 3041 w 3142"/>
                <a:gd name="T9" fmla="*/ 2200 h 2200"/>
                <a:gd name="T10" fmla="*/ 101 w 3142"/>
                <a:gd name="T11" fmla="*/ 2200 h 2200"/>
                <a:gd name="T12" fmla="*/ 0 w 3142"/>
                <a:gd name="T13" fmla="*/ 2099 h 2200"/>
                <a:gd name="T14" fmla="*/ 0 w 3142"/>
                <a:gd name="T15" fmla="*/ 101 h 2200"/>
                <a:gd name="T16" fmla="*/ 101 w 3142"/>
                <a:gd name="T17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2" h="2200">
                  <a:moveTo>
                    <a:pt x="101" y="0"/>
                  </a:moveTo>
                  <a:lnTo>
                    <a:pt x="3041" y="0"/>
                  </a:lnTo>
                  <a:cubicBezTo>
                    <a:pt x="3096" y="0"/>
                    <a:pt x="3142" y="45"/>
                    <a:pt x="3142" y="101"/>
                  </a:cubicBezTo>
                  <a:lnTo>
                    <a:pt x="3142" y="2099"/>
                  </a:lnTo>
                  <a:cubicBezTo>
                    <a:pt x="3142" y="2155"/>
                    <a:pt x="3096" y="2200"/>
                    <a:pt x="3041" y="2200"/>
                  </a:cubicBez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425450" y="1206500"/>
              <a:ext cx="827088" cy="676275"/>
            </a:xfrm>
            <a:custGeom>
              <a:avLst/>
              <a:gdLst>
                <a:gd name="T0" fmla="*/ 101 w 2685"/>
                <a:gd name="T1" fmla="*/ 0 h 2200"/>
                <a:gd name="T2" fmla="*/ 2685 w 2685"/>
                <a:gd name="T3" fmla="*/ 0 h 2200"/>
                <a:gd name="T4" fmla="*/ 484 w 2685"/>
                <a:gd name="T5" fmla="*/ 2200 h 2200"/>
                <a:gd name="T6" fmla="*/ 101 w 2685"/>
                <a:gd name="T7" fmla="*/ 2200 h 2200"/>
                <a:gd name="T8" fmla="*/ 0 w 2685"/>
                <a:gd name="T9" fmla="*/ 2099 h 2200"/>
                <a:gd name="T10" fmla="*/ 0 w 2685"/>
                <a:gd name="T11" fmla="*/ 101 h 2200"/>
                <a:gd name="T12" fmla="*/ 101 w 2685"/>
                <a:gd name="T13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5" h="2200">
                  <a:moveTo>
                    <a:pt x="101" y="0"/>
                  </a:moveTo>
                  <a:lnTo>
                    <a:pt x="2685" y="0"/>
                  </a:lnTo>
                  <a:lnTo>
                    <a:pt x="484" y="2200"/>
                  </a:ln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Rectangle 266"/>
            <p:cNvSpPr>
              <a:spLocks noChangeArrowheads="1"/>
            </p:cNvSpPr>
            <p:nvPr/>
          </p:nvSpPr>
          <p:spPr bwMode="auto">
            <a:xfrm>
              <a:off x="469900" y="1254125"/>
              <a:ext cx="877888" cy="585787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252413" y="1897063"/>
              <a:ext cx="1317625" cy="25400"/>
            </a:xfrm>
            <a:custGeom>
              <a:avLst/>
              <a:gdLst>
                <a:gd name="T0" fmla="*/ 2138 w 4277"/>
                <a:gd name="T1" fmla="*/ 87 h 87"/>
                <a:gd name="T2" fmla="*/ 162 w 4277"/>
                <a:gd name="T3" fmla="*/ 87 h 87"/>
                <a:gd name="T4" fmla="*/ 0 w 4277"/>
                <a:gd name="T5" fmla="*/ 3 h 87"/>
                <a:gd name="T6" fmla="*/ 2138 w 4277"/>
                <a:gd name="T7" fmla="*/ 0 h 87"/>
                <a:gd name="T8" fmla="*/ 4277 w 4277"/>
                <a:gd name="T9" fmla="*/ 3 h 87"/>
                <a:gd name="T10" fmla="*/ 4115 w 4277"/>
                <a:gd name="T11" fmla="*/ 87 h 87"/>
                <a:gd name="T12" fmla="*/ 2138 w 4277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7" h="87">
                  <a:moveTo>
                    <a:pt x="2138" y="87"/>
                  </a:moveTo>
                  <a:lnTo>
                    <a:pt x="162" y="87"/>
                  </a:lnTo>
                  <a:cubicBezTo>
                    <a:pt x="83" y="87"/>
                    <a:pt x="30" y="31"/>
                    <a:pt x="0" y="3"/>
                  </a:cubicBezTo>
                  <a:lnTo>
                    <a:pt x="2138" y="0"/>
                  </a:lnTo>
                  <a:lnTo>
                    <a:pt x="4277" y="3"/>
                  </a:lnTo>
                  <a:cubicBezTo>
                    <a:pt x="4247" y="31"/>
                    <a:pt x="4194" y="87"/>
                    <a:pt x="4115" y="87"/>
                  </a:cubicBezTo>
                  <a:lnTo>
                    <a:pt x="2138" y="87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244475" y="1870075"/>
              <a:ext cx="1331913" cy="28575"/>
            </a:xfrm>
            <a:custGeom>
              <a:avLst/>
              <a:gdLst>
                <a:gd name="T0" fmla="*/ 0 w 4325"/>
                <a:gd name="T1" fmla="*/ 0 h 93"/>
                <a:gd name="T2" fmla="*/ 4325 w 4325"/>
                <a:gd name="T3" fmla="*/ 0 h 93"/>
                <a:gd name="T4" fmla="*/ 4325 w 4325"/>
                <a:gd name="T5" fmla="*/ 46 h 93"/>
                <a:gd name="T6" fmla="*/ 4279 w 4325"/>
                <a:gd name="T7" fmla="*/ 93 h 93"/>
                <a:gd name="T8" fmla="*/ 46 w 4325"/>
                <a:gd name="T9" fmla="*/ 93 h 93"/>
                <a:gd name="T10" fmla="*/ 0 w 4325"/>
                <a:gd name="T11" fmla="*/ 46 h 93"/>
                <a:gd name="T12" fmla="*/ 0 w 432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5" h="93">
                  <a:moveTo>
                    <a:pt x="0" y="0"/>
                  </a:moveTo>
                  <a:lnTo>
                    <a:pt x="4325" y="0"/>
                  </a:lnTo>
                  <a:lnTo>
                    <a:pt x="4325" y="46"/>
                  </a:lnTo>
                  <a:cubicBezTo>
                    <a:pt x="4325" y="72"/>
                    <a:pt x="4304" y="93"/>
                    <a:pt x="4279" y="93"/>
                  </a:cubicBezTo>
                  <a:lnTo>
                    <a:pt x="46" y="93"/>
                  </a:lnTo>
                  <a:cubicBezTo>
                    <a:pt x="21" y="93"/>
                    <a:pt x="0" y="72"/>
                    <a:pt x="0" y="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819150" y="1870075"/>
              <a:ext cx="184150" cy="14287"/>
            </a:xfrm>
            <a:custGeom>
              <a:avLst/>
              <a:gdLst>
                <a:gd name="T0" fmla="*/ 599 w 599"/>
                <a:gd name="T1" fmla="*/ 0 h 43"/>
                <a:gd name="T2" fmla="*/ 585 w 599"/>
                <a:gd name="T3" fmla="*/ 29 h 43"/>
                <a:gd name="T4" fmla="*/ 584 w 599"/>
                <a:gd name="T5" fmla="*/ 29 h 43"/>
                <a:gd name="T6" fmla="*/ 584 w 599"/>
                <a:gd name="T7" fmla="*/ 29 h 43"/>
                <a:gd name="T8" fmla="*/ 550 w 599"/>
                <a:gd name="T9" fmla="*/ 43 h 43"/>
                <a:gd name="T10" fmla="*/ 49 w 599"/>
                <a:gd name="T11" fmla="*/ 43 h 43"/>
                <a:gd name="T12" fmla="*/ 14 w 599"/>
                <a:gd name="T13" fmla="*/ 29 h 43"/>
                <a:gd name="T14" fmla="*/ 14 w 599"/>
                <a:gd name="T15" fmla="*/ 29 h 43"/>
                <a:gd name="T16" fmla="*/ 0 w 599"/>
                <a:gd name="T17" fmla="*/ 0 h 43"/>
                <a:gd name="T18" fmla="*/ 12 w 599"/>
                <a:gd name="T19" fmla="*/ 0 h 43"/>
                <a:gd name="T20" fmla="*/ 22 w 599"/>
                <a:gd name="T21" fmla="*/ 20 h 43"/>
                <a:gd name="T22" fmla="*/ 22 w 599"/>
                <a:gd name="T23" fmla="*/ 20 h 43"/>
                <a:gd name="T24" fmla="*/ 49 w 599"/>
                <a:gd name="T25" fmla="*/ 31 h 43"/>
                <a:gd name="T26" fmla="*/ 550 w 599"/>
                <a:gd name="T27" fmla="*/ 31 h 43"/>
                <a:gd name="T28" fmla="*/ 576 w 599"/>
                <a:gd name="T29" fmla="*/ 21 h 43"/>
                <a:gd name="T30" fmla="*/ 576 w 599"/>
                <a:gd name="T31" fmla="*/ 21 h 43"/>
                <a:gd name="T32" fmla="*/ 576 w 599"/>
                <a:gd name="T33" fmla="*/ 20 h 43"/>
                <a:gd name="T34" fmla="*/ 587 w 599"/>
                <a:gd name="T35" fmla="*/ 0 h 43"/>
                <a:gd name="T36" fmla="*/ 599 w 599"/>
                <a:gd name="T3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43">
                  <a:moveTo>
                    <a:pt x="599" y="0"/>
                  </a:moveTo>
                  <a:cubicBezTo>
                    <a:pt x="597" y="11"/>
                    <a:pt x="592" y="21"/>
                    <a:pt x="585" y="29"/>
                  </a:cubicBezTo>
                  <a:lnTo>
                    <a:pt x="584" y="29"/>
                  </a:lnTo>
                  <a:lnTo>
                    <a:pt x="584" y="29"/>
                  </a:lnTo>
                  <a:cubicBezTo>
                    <a:pt x="575" y="38"/>
                    <a:pt x="563" y="43"/>
                    <a:pt x="550" y="43"/>
                  </a:cubicBezTo>
                  <a:lnTo>
                    <a:pt x="49" y="43"/>
                  </a:lnTo>
                  <a:cubicBezTo>
                    <a:pt x="35" y="43"/>
                    <a:pt x="23" y="38"/>
                    <a:pt x="14" y="29"/>
                  </a:cubicBezTo>
                  <a:lnTo>
                    <a:pt x="14" y="29"/>
                  </a:lnTo>
                  <a:cubicBezTo>
                    <a:pt x="7" y="21"/>
                    <a:pt x="1" y="11"/>
                    <a:pt x="0" y="0"/>
                  </a:cubicBezTo>
                  <a:lnTo>
                    <a:pt x="12" y="0"/>
                  </a:lnTo>
                  <a:cubicBezTo>
                    <a:pt x="13" y="8"/>
                    <a:pt x="17" y="15"/>
                    <a:pt x="22" y="20"/>
                  </a:cubicBezTo>
                  <a:lnTo>
                    <a:pt x="22" y="20"/>
                  </a:lnTo>
                  <a:cubicBezTo>
                    <a:pt x="29" y="27"/>
                    <a:pt x="38" y="31"/>
                    <a:pt x="49" y="31"/>
                  </a:cubicBezTo>
                  <a:lnTo>
                    <a:pt x="550" y="31"/>
                  </a:lnTo>
                  <a:cubicBezTo>
                    <a:pt x="560" y="31"/>
                    <a:pt x="569" y="27"/>
                    <a:pt x="576" y="21"/>
                  </a:cubicBezTo>
                  <a:lnTo>
                    <a:pt x="576" y="21"/>
                  </a:lnTo>
                  <a:lnTo>
                    <a:pt x="576" y="20"/>
                  </a:lnTo>
                  <a:cubicBezTo>
                    <a:pt x="582" y="15"/>
                    <a:pt x="585" y="8"/>
                    <a:pt x="587" y="0"/>
                  </a:cubicBezTo>
                  <a:lnTo>
                    <a:pt x="599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469900" y="1254125"/>
              <a:ext cx="733425" cy="585787"/>
            </a:xfrm>
            <a:custGeom>
              <a:avLst/>
              <a:gdLst>
                <a:gd name="T0" fmla="*/ 0 w 2381"/>
                <a:gd name="T1" fmla="*/ 1902 h 1902"/>
                <a:gd name="T2" fmla="*/ 480 w 2381"/>
                <a:gd name="T3" fmla="*/ 1902 h 1902"/>
                <a:gd name="T4" fmla="*/ 2381 w 2381"/>
                <a:gd name="T5" fmla="*/ 0 h 1902"/>
                <a:gd name="T6" fmla="*/ 0 w 2381"/>
                <a:gd name="T7" fmla="*/ 0 h 1902"/>
                <a:gd name="T8" fmla="*/ 0 w 2381"/>
                <a:gd name="T9" fmla="*/ 1902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1" h="1902">
                  <a:moveTo>
                    <a:pt x="0" y="1902"/>
                  </a:moveTo>
                  <a:lnTo>
                    <a:pt x="480" y="1902"/>
                  </a:lnTo>
                  <a:lnTo>
                    <a:pt x="2381" y="0"/>
                  </a:lnTo>
                  <a:lnTo>
                    <a:pt x="0" y="0"/>
                  </a:lnTo>
                  <a:lnTo>
                    <a:pt x="0" y="1902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61975" y="1020763"/>
              <a:ext cx="693738" cy="819150"/>
            </a:xfrm>
            <a:custGeom>
              <a:avLst/>
              <a:gdLst>
                <a:gd name="T0" fmla="*/ 0 w 2255"/>
                <a:gd name="T1" fmla="*/ 2660 h 2660"/>
                <a:gd name="T2" fmla="*/ 2255 w 2255"/>
                <a:gd name="T3" fmla="*/ 2660 h 2660"/>
                <a:gd name="T4" fmla="*/ 2255 w 2255"/>
                <a:gd name="T5" fmla="*/ 49 h 2660"/>
                <a:gd name="T6" fmla="*/ 2206 w 2255"/>
                <a:gd name="T7" fmla="*/ 0 h 2660"/>
                <a:gd name="T8" fmla="*/ 50 w 2255"/>
                <a:gd name="T9" fmla="*/ 0 h 2660"/>
                <a:gd name="T10" fmla="*/ 0 w 2255"/>
                <a:gd name="T11" fmla="*/ 49 h 2660"/>
                <a:gd name="T12" fmla="*/ 0 w 2255"/>
                <a:gd name="T13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2660">
                  <a:moveTo>
                    <a:pt x="0" y="2660"/>
                  </a:moveTo>
                  <a:lnTo>
                    <a:pt x="2255" y="2660"/>
                  </a:ln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26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561975" y="1020763"/>
              <a:ext cx="693738" cy="53975"/>
            </a:xfrm>
            <a:custGeom>
              <a:avLst/>
              <a:gdLst>
                <a:gd name="T0" fmla="*/ 2255 w 2255"/>
                <a:gd name="T1" fmla="*/ 172 h 172"/>
                <a:gd name="T2" fmla="*/ 2255 w 2255"/>
                <a:gd name="T3" fmla="*/ 49 h 172"/>
                <a:gd name="T4" fmla="*/ 2206 w 2255"/>
                <a:gd name="T5" fmla="*/ 0 h 172"/>
                <a:gd name="T6" fmla="*/ 50 w 2255"/>
                <a:gd name="T7" fmla="*/ 0 h 172"/>
                <a:gd name="T8" fmla="*/ 0 w 2255"/>
                <a:gd name="T9" fmla="*/ 49 h 172"/>
                <a:gd name="T10" fmla="*/ 0 w 2255"/>
                <a:gd name="T11" fmla="*/ 172 h 172"/>
                <a:gd name="T12" fmla="*/ 2255 w 225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172">
                  <a:moveTo>
                    <a:pt x="2255" y="172"/>
                  </a:move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172"/>
                  </a:lnTo>
                  <a:lnTo>
                    <a:pt x="2255" y="172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00063" y="1254125"/>
              <a:ext cx="61913" cy="585787"/>
            </a:xfrm>
            <a:custGeom>
              <a:avLst/>
              <a:gdLst>
                <a:gd name="T0" fmla="*/ 199 w 199"/>
                <a:gd name="T1" fmla="*/ 0 h 1902"/>
                <a:gd name="T2" fmla="*/ 0 w 199"/>
                <a:gd name="T3" fmla="*/ 0 h 1902"/>
                <a:gd name="T4" fmla="*/ 199 w 199"/>
                <a:gd name="T5" fmla="*/ 1902 h 1902"/>
                <a:gd name="T6" fmla="*/ 199 w 199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1902">
                  <a:moveTo>
                    <a:pt x="199" y="0"/>
                  </a:moveTo>
                  <a:lnTo>
                    <a:pt x="0" y="0"/>
                  </a:lnTo>
                  <a:lnTo>
                    <a:pt x="199" y="1902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255713" y="1254125"/>
              <a:ext cx="61913" cy="585787"/>
            </a:xfrm>
            <a:custGeom>
              <a:avLst/>
              <a:gdLst>
                <a:gd name="T0" fmla="*/ 0 w 200"/>
                <a:gd name="T1" fmla="*/ 0 h 1902"/>
                <a:gd name="T2" fmla="*/ 200 w 200"/>
                <a:gd name="T3" fmla="*/ 0 h 1902"/>
                <a:gd name="T4" fmla="*/ 0 w 200"/>
                <a:gd name="T5" fmla="*/ 1902 h 1902"/>
                <a:gd name="T6" fmla="*/ 0 w 200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1902">
                  <a:moveTo>
                    <a:pt x="0" y="0"/>
                  </a:moveTo>
                  <a:lnTo>
                    <a:pt x="200" y="0"/>
                  </a:lnTo>
                  <a:lnTo>
                    <a:pt x="0" y="19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Oval 275"/>
            <p:cNvSpPr>
              <a:spLocks noChangeArrowheads="1"/>
            </p:cNvSpPr>
            <p:nvPr/>
          </p:nvSpPr>
          <p:spPr bwMode="auto">
            <a:xfrm>
              <a:off x="587375" y="1039813"/>
              <a:ext cx="14288" cy="15875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Oval 276"/>
            <p:cNvSpPr>
              <a:spLocks noChangeArrowheads="1"/>
            </p:cNvSpPr>
            <p:nvPr/>
          </p:nvSpPr>
          <p:spPr bwMode="auto">
            <a:xfrm>
              <a:off x="615950" y="1039813"/>
              <a:ext cx="15875" cy="15875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Oval 277"/>
            <p:cNvSpPr>
              <a:spLocks noChangeArrowheads="1"/>
            </p:cNvSpPr>
            <p:nvPr/>
          </p:nvSpPr>
          <p:spPr bwMode="auto">
            <a:xfrm>
              <a:off x="646113" y="1039813"/>
              <a:ext cx="14288" cy="15875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Rectangle 278"/>
            <p:cNvSpPr>
              <a:spLocks noChangeArrowheads="1"/>
            </p:cNvSpPr>
            <p:nvPr/>
          </p:nvSpPr>
          <p:spPr bwMode="auto">
            <a:xfrm>
              <a:off x="692150" y="1038225"/>
              <a:ext cx="5318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Rectangle 279"/>
            <p:cNvSpPr>
              <a:spLocks noChangeArrowheads="1"/>
            </p:cNvSpPr>
            <p:nvPr/>
          </p:nvSpPr>
          <p:spPr bwMode="auto">
            <a:xfrm>
              <a:off x="650875" y="1735138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Rectangle 280"/>
            <p:cNvSpPr>
              <a:spLocks noChangeArrowheads="1"/>
            </p:cNvSpPr>
            <p:nvPr/>
          </p:nvSpPr>
          <p:spPr bwMode="auto">
            <a:xfrm>
              <a:off x="650875" y="1689100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Rectangle 281"/>
            <p:cNvSpPr>
              <a:spLocks noChangeArrowheads="1"/>
            </p:cNvSpPr>
            <p:nvPr/>
          </p:nvSpPr>
          <p:spPr bwMode="auto">
            <a:xfrm>
              <a:off x="650875" y="164306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Rectangle 282"/>
            <p:cNvSpPr>
              <a:spLocks noChangeArrowheads="1"/>
            </p:cNvSpPr>
            <p:nvPr/>
          </p:nvSpPr>
          <p:spPr bwMode="auto">
            <a:xfrm>
              <a:off x="650875" y="159861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Rectangle 283"/>
            <p:cNvSpPr>
              <a:spLocks noChangeArrowheads="1"/>
            </p:cNvSpPr>
            <p:nvPr/>
          </p:nvSpPr>
          <p:spPr bwMode="auto">
            <a:xfrm>
              <a:off x="650875" y="1174750"/>
              <a:ext cx="517525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Rectangle 284"/>
            <p:cNvSpPr>
              <a:spLocks noChangeArrowheads="1"/>
            </p:cNvSpPr>
            <p:nvPr/>
          </p:nvSpPr>
          <p:spPr bwMode="auto">
            <a:xfrm>
              <a:off x="650875" y="1116013"/>
              <a:ext cx="517525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Rectangle 285"/>
            <p:cNvSpPr>
              <a:spLocks noChangeArrowheads="1"/>
            </p:cNvSpPr>
            <p:nvPr/>
          </p:nvSpPr>
          <p:spPr bwMode="auto">
            <a:xfrm>
              <a:off x="652463" y="1597025"/>
              <a:ext cx="515938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Rectangle 286"/>
            <p:cNvSpPr>
              <a:spLocks noChangeArrowheads="1"/>
            </p:cNvSpPr>
            <p:nvPr/>
          </p:nvSpPr>
          <p:spPr bwMode="auto">
            <a:xfrm>
              <a:off x="652463" y="1174750"/>
              <a:ext cx="515938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4" name="Rectangle 287"/>
            <p:cNvSpPr>
              <a:spLocks noChangeArrowheads="1"/>
            </p:cNvSpPr>
            <p:nvPr/>
          </p:nvSpPr>
          <p:spPr bwMode="auto">
            <a:xfrm>
              <a:off x="652463" y="1116013"/>
              <a:ext cx="515938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5" name="Freeform 288"/>
            <p:cNvSpPr>
              <a:spLocks/>
            </p:cNvSpPr>
            <p:nvPr/>
          </p:nvSpPr>
          <p:spPr bwMode="auto">
            <a:xfrm>
              <a:off x="1031875" y="1227138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3"/>
                    <a:pt x="0" y="220"/>
                  </a:cubicBezTo>
                  <a:cubicBezTo>
                    <a:pt x="0" y="103"/>
                    <a:pt x="91" y="7"/>
                    <a:pt x="206" y="0"/>
                  </a:cubicBezTo>
                  <a:lnTo>
                    <a:pt x="206" y="98"/>
                  </a:lnTo>
                  <a:cubicBezTo>
                    <a:pt x="145" y="105"/>
                    <a:pt x="98" y="157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C8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9" name="Freeform 289"/>
            <p:cNvSpPr>
              <a:spLocks/>
            </p:cNvSpPr>
            <p:nvPr/>
          </p:nvSpPr>
          <p:spPr bwMode="auto">
            <a:xfrm>
              <a:off x="1111250" y="1284288"/>
              <a:ext cx="57150" cy="76200"/>
            </a:xfrm>
            <a:custGeom>
              <a:avLst/>
              <a:gdLst>
                <a:gd name="T0" fmla="*/ 183 w 185"/>
                <a:gd name="T1" fmla="*/ 0 h 246"/>
                <a:gd name="T2" fmla="*/ 185 w 185"/>
                <a:gd name="T3" fmla="*/ 32 h 246"/>
                <a:gd name="T4" fmla="*/ 17 w 185"/>
                <a:gd name="T5" fmla="*/ 246 h 246"/>
                <a:gd name="T6" fmla="*/ 0 w 185"/>
                <a:gd name="T7" fmla="*/ 149 h 246"/>
                <a:gd name="T8" fmla="*/ 87 w 185"/>
                <a:gd name="T9" fmla="*/ 32 h 246"/>
                <a:gd name="T10" fmla="*/ 87 w 185"/>
                <a:gd name="T11" fmla="*/ 21 h 246"/>
                <a:gd name="T12" fmla="*/ 183 w 185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6">
                  <a:moveTo>
                    <a:pt x="183" y="0"/>
                  </a:moveTo>
                  <a:cubicBezTo>
                    <a:pt x="184" y="10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6"/>
                  </a:cubicBezTo>
                  <a:lnTo>
                    <a:pt x="0" y="149"/>
                  </a:lnTo>
                  <a:cubicBezTo>
                    <a:pt x="50" y="134"/>
                    <a:pt x="87" y="87"/>
                    <a:pt x="87" y="32"/>
                  </a:cubicBezTo>
                  <a:cubicBezTo>
                    <a:pt x="87" y="28"/>
                    <a:pt x="87" y="24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303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0" name="Freeform 290"/>
            <p:cNvSpPr>
              <a:spLocks/>
            </p:cNvSpPr>
            <p:nvPr/>
          </p:nvSpPr>
          <p:spPr bwMode="auto">
            <a:xfrm>
              <a:off x="1060450" y="1327150"/>
              <a:ext cx="46038" cy="34925"/>
            </a:xfrm>
            <a:custGeom>
              <a:avLst/>
              <a:gdLst>
                <a:gd name="T0" fmla="*/ 152 w 152"/>
                <a:gd name="T1" fmla="*/ 115 h 117"/>
                <a:gd name="T2" fmla="*/ 128 w 152"/>
                <a:gd name="T3" fmla="*/ 117 h 117"/>
                <a:gd name="T4" fmla="*/ 0 w 152"/>
                <a:gd name="T5" fmla="*/ 75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5"/>
                  </a:moveTo>
                  <a:cubicBezTo>
                    <a:pt x="144" y="116"/>
                    <a:pt x="136" y="117"/>
                    <a:pt x="128" y="117"/>
                  </a:cubicBezTo>
                  <a:cubicBezTo>
                    <a:pt x="80" y="117"/>
                    <a:pt x="36" y="101"/>
                    <a:pt x="0" y="75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5"/>
                  </a:lnTo>
                  <a:close/>
                </a:path>
              </a:pathLst>
            </a:custGeom>
            <a:solidFill>
              <a:srgbClr val="218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1" name="Freeform 291"/>
            <p:cNvSpPr>
              <a:spLocks/>
            </p:cNvSpPr>
            <p:nvPr/>
          </p:nvSpPr>
          <p:spPr bwMode="auto">
            <a:xfrm>
              <a:off x="1104900" y="1227138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59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6"/>
                    <a:pt x="101" y="180"/>
                  </a:cubicBezTo>
                  <a:lnTo>
                    <a:pt x="197" y="159"/>
                  </a:lnTo>
                  <a:cubicBezTo>
                    <a:pt x="172" y="71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2" name="Freeform 292"/>
            <p:cNvSpPr>
              <a:spLocks/>
            </p:cNvSpPr>
            <p:nvPr/>
          </p:nvSpPr>
          <p:spPr bwMode="auto">
            <a:xfrm>
              <a:off x="1033463" y="1408113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4"/>
                    <a:pt x="0" y="220"/>
                  </a:cubicBezTo>
                  <a:cubicBezTo>
                    <a:pt x="0" y="103"/>
                    <a:pt x="91" y="8"/>
                    <a:pt x="206" y="0"/>
                  </a:cubicBezTo>
                  <a:lnTo>
                    <a:pt x="206" y="98"/>
                  </a:lnTo>
                  <a:cubicBezTo>
                    <a:pt x="145" y="106"/>
                    <a:pt x="98" y="158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98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3" name="Freeform 293"/>
            <p:cNvSpPr>
              <a:spLocks/>
            </p:cNvSpPr>
            <p:nvPr/>
          </p:nvSpPr>
          <p:spPr bwMode="auto">
            <a:xfrm>
              <a:off x="1112838" y="1465263"/>
              <a:ext cx="57150" cy="76200"/>
            </a:xfrm>
            <a:custGeom>
              <a:avLst/>
              <a:gdLst>
                <a:gd name="T0" fmla="*/ 183 w 185"/>
                <a:gd name="T1" fmla="*/ 0 h 247"/>
                <a:gd name="T2" fmla="*/ 185 w 185"/>
                <a:gd name="T3" fmla="*/ 32 h 247"/>
                <a:gd name="T4" fmla="*/ 17 w 185"/>
                <a:gd name="T5" fmla="*/ 247 h 247"/>
                <a:gd name="T6" fmla="*/ 0 w 185"/>
                <a:gd name="T7" fmla="*/ 150 h 247"/>
                <a:gd name="T8" fmla="*/ 87 w 185"/>
                <a:gd name="T9" fmla="*/ 32 h 247"/>
                <a:gd name="T10" fmla="*/ 87 w 185"/>
                <a:gd name="T11" fmla="*/ 21 h 247"/>
                <a:gd name="T12" fmla="*/ 183 w 18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7">
                  <a:moveTo>
                    <a:pt x="183" y="0"/>
                  </a:moveTo>
                  <a:cubicBezTo>
                    <a:pt x="184" y="11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7"/>
                  </a:cubicBezTo>
                  <a:lnTo>
                    <a:pt x="0" y="150"/>
                  </a:lnTo>
                  <a:cubicBezTo>
                    <a:pt x="50" y="134"/>
                    <a:pt x="87" y="88"/>
                    <a:pt x="87" y="32"/>
                  </a:cubicBezTo>
                  <a:cubicBezTo>
                    <a:pt x="87" y="29"/>
                    <a:pt x="87" y="25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536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4" name="Freeform 294"/>
            <p:cNvSpPr>
              <a:spLocks/>
            </p:cNvSpPr>
            <p:nvPr/>
          </p:nvSpPr>
          <p:spPr bwMode="auto">
            <a:xfrm>
              <a:off x="1062038" y="1506538"/>
              <a:ext cx="46038" cy="36512"/>
            </a:xfrm>
            <a:custGeom>
              <a:avLst/>
              <a:gdLst>
                <a:gd name="T0" fmla="*/ 152 w 152"/>
                <a:gd name="T1" fmla="*/ 116 h 117"/>
                <a:gd name="T2" fmla="*/ 128 w 152"/>
                <a:gd name="T3" fmla="*/ 117 h 117"/>
                <a:gd name="T4" fmla="*/ 0 w 152"/>
                <a:gd name="T5" fmla="*/ 76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6"/>
                  </a:moveTo>
                  <a:cubicBezTo>
                    <a:pt x="144" y="117"/>
                    <a:pt x="136" y="117"/>
                    <a:pt x="128" y="117"/>
                  </a:cubicBezTo>
                  <a:cubicBezTo>
                    <a:pt x="80" y="117"/>
                    <a:pt x="36" y="102"/>
                    <a:pt x="0" y="76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6"/>
                  </a:lnTo>
                  <a:close/>
                </a:path>
              </a:pathLst>
            </a:custGeom>
            <a:solidFill>
              <a:srgbClr val="4D8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5" name="Freeform 295"/>
            <p:cNvSpPr>
              <a:spLocks/>
            </p:cNvSpPr>
            <p:nvPr/>
          </p:nvSpPr>
          <p:spPr bwMode="auto">
            <a:xfrm>
              <a:off x="1106488" y="1408113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60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7"/>
                    <a:pt x="101" y="180"/>
                  </a:cubicBezTo>
                  <a:lnTo>
                    <a:pt x="197" y="160"/>
                  </a:lnTo>
                  <a:cubicBezTo>
                    <a:pt x="172" y="72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4FA0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6" name="Rectangle 296"/>
            <p:cNvSpPr>
              <a:spLocks noChangeArrowheads="1"/>
            </p:cNvSpPr>
            <p:nvPr/>
          </p:nvSpPr>
          <p:spPr bwMode="auto">
            <a:xfrm>
              <a:off x="661988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7" name="Rectangle 297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8" name="Rectangle 298"/>
            <p:cNvSpPr>
              <a:spLocks noChangeArrowheads="1"/>
            </p:cNvSpPr>
            <p:nvPr/>
          </p:nvSpPr>
          <p:spPr bwMode="auto">
            <a:xfrm>
              <a:off x="749300" y="1320800"/>
              <a:ext cx="22225" cy="2222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9" name="Rectangle 299"/>
            <p:cNvSpPr>
              <a:spLocks noChangeArrowheads="1"/>
            </p:cNvSpPr>
            <p:nvPr/>
          </p:nvSpPr>
          <p:spPr bwMode="auto">
            <a:xfrm>
              <a:off x="793750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0" name="Rectangle 300"/>
            <p:cNvSpPr>
              <a:spLocks noChangeArrowheads="1"/>
            </p:cNvSpPr>
            <p:nvPr/>
          </p:nvSpPr>
          <p:spPr bwMode="auto">
            <a:xfrm>
              <a:off x="838200" y="1343025"/>
              <a:ext cx="22225" cy="2000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1" name="Rectangle 301"/>
            <p:cNvSpPr>
              <a:spLocks noChangeArrowheads="1"/>
            </p:cNvSpPr>
            <p:nvPr/>
          </p:nvSpPr>
          <p:spPr bwMode="auto">
            <a:xfrm>
              <a:off x="882650" y="1317625"/>
              <a:ext cx="20638" cy="2254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2" name="Rectangle 302"/>
            <p:cNvSpPr>
              <a:spLocks noChangeArrowheads="1"/>
            </p:cNvSpPr>
            <p:nvPr/>
          </p:nvSpPr>
          <p:spPr bwMode="auto">
            <a:xfrm>
              <a:off x="925513" y="1227138"/>
              <a:ext cx="22225" cy="3159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3" name="Rectangle 303"/>
            <p:cNvSpPr>
              <a:spLocks noChangeArrowheads="1"/>
            </p:cNvSpPr>
            <p:nvPr/>
          </p:nvSpPr>
          <p:spPr bwMode="auto">
            <a:xfrm>
              <a:off x="969963" y="1328738"/>
              <a:ext cx="22225" cy="2143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4" name="Rectangle 304"/>
            <p:cNvSpPr>
              <a:spLocks noChangeArrowheads="1"/>
            </p:cNvSpPr>
            <p:nvPr/>
          </p:nvSpPr>
          <p:spPr bwMode="auto">
            <a:xfrm>
              <a:off x="66198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5" name="Rectangle 305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6" name="Rectangle 306"/>
            <p:cNvSpPr>
              <a:spLocks noChangeArrowheads="1"/>
            </p:cNvSpPr>
            <p:nvPr/>
          </p:nvSpPr>
          <p:spPr bwMode="auto">
            <a:xfrm>
              <a:off x="7493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7" name="Rectangle 307"/>
            <p:cNvSpPr>
              <a:spLocks noChangeArrowheads="1"/>
            </p:cNvSpPr>
            <p:nvPr/>
          </p:nvSpPr>
          <p:spPr bwMode="auto">
            <a:xfrm>
              <a:off x="79375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8" name="Rectangle 308"/>
            <p:cNvSpPr>
              <a:spLocks noChangeArrowheads="1"/>
            </p:cNvSpPr>
            <p:nvPr/>
          </p:nvSpPr>
          <p:spPr bwMode="auto">
            <a:xfrm>
              <a:off x="8382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9" name="Rectangle 309"/>
            <p:cNvSpPr>
              <a:spLocks noChangeArrowheads="1"/>
            </p:cNvSpPr>
            <p:nvPr/>
          </p:nvSpPr>
          <p:spPr bwMode="auto">
            <a:xfrm>
              <a:off x="882650" y="1411288"/>
              <a:ext cx="20638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0" name="Rectangle 310"/>
            <p:cNvSpPr>
              <a:spLocks noChangeArrowheads="1"/>
            </p:cNvSpPr>
            <p:nvPr/>
          </p:nvSpPr>
          <p:spPr bwMode="auto">
            <a:xfrm>
              <a:off x="92551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1" name="Rectangle 311"/>
            <p:cNvSpPr>
              <a:spLocks noChangeArrowheads="1"/>
            </p:cNvSpPr>
            <p:nvPr/>
          </p:nvSpPr>
          <p:spPr bwMode="auto">
            <a:xfrm>
              <a:off x="96996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2" name="Freeform 312"/>
            <p:cNvSpPr>
              <a:spLocks/>
            </p:cNvSpPr>
            <p:nvPr/>
          </p:nvSpPr>
          <p:spPr bwMode="auto">
            <a:xfrm>
              <a:off x="2840038" y="1196975"/>
              <a:ext cx="331788" cy="134937"/>
            </a:xfrm>
            <a:custGeom>
              <a:avLst/>
              <a:gdLst>
                <a:gd name="T0" fmla="*/ 0 w 1077"/>
                <a:gd name="T1" fmla="*/ 0 h 438"/>
                <a:gd name="T2" fmla="*/ 1031 w 1077"/>
                <a:gd name="T3" fmla="*/ 0 h 438"/>
                <a:gd name="T4" fmla="*/ 1077 w 1077"/>
                <a:gd name="T5" fmla="*/ 438 h 438"/>
                <a:gd name="T6" fmla="*/ 126 w 1077"/>
                <a:gd name="T7" fmla="*/ 438 h 438"/>
                <a:gd name="T8" fmla="*/ 0 w 1077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7" h="438">
                  <a:moveTo>
                    <a:pt x="0" y="0"/>
                  </a:moveTo>
                  <a:lnTo>
                    <a:pt x="1031" y="0"/>
                  </a:lnTo>
                  <a:lnTo>
                    <a:pt x="1077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3" name="Freeform 313"/>
            <p:cNvSpPr>
              <a:spLocks/>
            </p:cNvSpPr>
            <p:nvPr/>
          </p:nvSpPr>
          <p:spPr bwMode="auto">
            <a:xfrm>
              <a:off x="2917825" y="1466850"/>
              <a:ext cx="282575" cy="134937"/>
            </a:xfrm>
            <a:custGeom>
              <a:avLst/>
              <a:gdLst>
                <a:gd name="T0" fmla="*/ 0 w 916"/>
                <a:gd name="T1" fmla="*/ 0 h 438"/>
                <a:gd name="T2" fmla="*/ 870 w 916"/>
                <a:gd name="T3" fmla="*/ 0 h 438"/>
                <a:gd name="T4" fmla="*/ 916 w 916"/>
                <a:gd name="T5" fmla="*/ 438 h 438"/>
                <a:gd name="T6" fmla="*/ 126 w 916"/>
                <a:gd name="T7" fmla="*/ 438 h 438"/>
                <a:gd name="T8" fmla="*/ 0 w 91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6" h="438">
                  <a:moveTo>
                    <a:pt x="0" y="0"/>
                  </a:moveTo>
                  <a:lnTo>
                    <a:pt x="870" y="0"/>
                  </a:lnTo>
                  <a:lnTo>
                    <a:pt x="91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4" name="Freeform 314"/>
            <p:cNvSpPr>
              <a:spLocks/>
            </p:cNvSpPr>
            <p:nvPr/>
          </p:nvSpPr>
          <p:spPr bwMode="auto">
            <a:xfrm>
              <a:off x="2879725" y="1331913"/>
              <a:ext cx="306388" cy="134937"/>
            </a:xfrm>
            <a:custGeom>
              <a:avLst/>
              <a:gdLst>
                <a:gd name="T0" fmla="*/ 0 w 996"/>
                <a:gd name="T1" fmla="*/ 0 h 438"/>
                <a:gd name="T2" fmla="*/ 951 w 996"/>
                <a:gd name="T3" fmla="*/ 0 h 438"/>
                <a:gd name="T4" fmla="*/ 996 w 996"/>
                <a:gd name="T5" fmla="*/ 438 h 438"/>
                <a:gd name="T6" fmla="*/ 126 w 996"/>
                <a:gd name="T7" fmla="*/ 438 h 438"/>
                <a:gd name="T8" fmla="*/ 0 w 99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438">
                  <a:moveTo>
                    <a:pt x="0" y="0"/>
                  </a:moveTo>
                  <a:lnTo>
                    <a:pt x="951" y="0"/>
                  </a:lnTo>
                  <a:lnTo>
                    <a:pt x="99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5" name="Freeform 315"/>
            <p:cNvSpPr>
              <a:spLocks/>
            </p:cNvSpPr>
            <p:nvPr/>
          </p:nvSpPr>
          <p:spPr bwMode="auto">
            <a:xfrm>
              <a:off x="2941638" y="1547813"/>
              <a:ext cx="150813" cy="53975"/>
            </a:xfrm>
            <a:custGeom>
              <a:avLst/>
              <a:gdLst>
                <a:gd name="T0" fmla="*/ 49 w 488"/>
                <a:gd name="T1" fmla="*/ 173 h 173"/>
                <a:gd name="T2" fmla="*/ 488 w 488"/>
                <a:gd name="T3" fmla="*/ 0 h 173"/>
                <a:gd name="T4" fmla="*/ 0 w 488"/>
                <a:gd name="T5" fmla="*/ 0 h 173"/>
                <a:gd name="T6" fmla="*/ 49 w 488"/>
                <a:gd name="T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8" h="173">
                  <a:moveTo>
                    <a:pt x="49" y="173"/>
                  </a:moveTo>
                  <a:lnTo>
                    <a:pt x="488" y="0"/>
                  </a:lnTo>
                  <a:lnTo>
                    <a:pt x="0" y="0"/>
                  </a:lnTo>
                  <a:lnTo>
                    <a:pt x="49" y="173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6" name="Freeform 316"/>
            <p:cNvSpPr>
              <a:spLocks/>
            </p:cNvSpPr>
            <p:nvPr/>
          </p:nvSpPr>
          <p:spPr bwMode="auto">
            <a:xfrm>
              <a:off x="2566988" y="1146175"/>
              <a:ext cx="423863" cy="133350"/>
            </a:xfrm>
            <a:custGeom>
              <a:avLst/>
              <a:gdLst>
                <a:gd name="T0" fmla="*/ 0 w 1373"/>
                <a:gd name="T1" fmla="*/ 0 h 435"/>
                <a:gd name="T2" fmla="*/ 1207 w 1373"/>
                <a:gd name="T3" fmla="*/ 0 h 435"/>
                <a:gd name="T4" fmla="*/ 1373 w 1373"/>
                <a:gd name="T5" fmla="*/ 435 h 435"/>
                <a:gd name="T6" fmla="*/ 0 w 1373"/>
                <a:gd name="T7" fmla="*/ 435 h 435"/>
                <a:gd name="T8" fmla="*/ 0 w 1373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3" h="435">
                  <a:moveTo>
                    <a:pt x="0" y="0"/>
                  </a:moveTo>
                  <a:lnTo>
                    <a:pt x="1207" y="0"/>
                  </a:lnTo>
                  <a:lnTo>
                    <a:pt x="1373" y="435"/>
                  </a:lnTo>
                  <a:lnTo>
                    <a:pt x="0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7" name="Freeform 317"/>
            <p:cNvSpPr>
              <a:spLocks/>
            </p:cNvSpPr>
            <p:nvPr/>
          </p:nvSpPr>
          <p:spPr bwMode="auto">
            <a:xfrm>
              <a:off x="2566988" y="1414463"/>
              <a:ext cx="525463" cy="133350"/>
            </a:xfrm>
            <a:custGeom>
              <a:avLst/>
              <a:gdLst>
                <a:gd name="T0" fmla="*/ 0 w 1704"/>
                <a:gd name="T1" fmla="*/ 0 h 436"/>
                <a:gd name="T2" fmla="*/ 1538 w 1704"/>
                <a:gd name="T3" fmla="*/ 0 h 436"/>
                <a:gd name="T4" fmla="*/ 1704 w 1704"/>
                <a:gd name="T5" fmla="*/ 436 h 436"/>
                <a:gd name="T6" fmla="*/ 0 w 1704"/>
                <a:gd name="T7" fmla="*/ 436 h 436"/>
                <a:gd name="T8" fmla="*/ 0 w 1704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36">
                  <a:moveTo>
                    <a:pt x="0" y="0"/>
                  </a:moveTo>
                  <a:lnTo>
                    <a:pt x="1538" y="0"/>
                  </a:lnTo>
                  <a:lnTo>
                    <a:pt x="1704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8" name="Freeform 318"/>
            <p:cNvSpPr>
              <a:spLocks/>
            </p:cNvSpPr>
            <p:nvPr/>
          </p:nvSpPr>
          <p:spPr bwMode="auto">
            <a:xfrm>
              <a:off x="2566988" y="1279525"/>
              <a:ext cx="474663" cy="134937"/>
            </a:xfrm>
            <a:custGeom>
              <a:avLst/>
              <a:gdLst>
                <a:gd name="T0" fmla="*/ 0 w 1538"/>
                <a:gd name="T1" fmla="*/ 0 h 436"/>
                <a:gd name="T2" fmla="*/ 1373 w 1538"/>
                <a:gd name="T3" fmla="*/ 0 h 436"/>
                <a:gd name="T4" fmla="*/ 1538 w 1538"/>
                <a:gd name="T5" fmla="*/ 436 h 436"/>
                <a:gd name="T6" fmla="*/ 0 w 1538"/>
                <a:gd name="T7" fmla="*/ 436 h 436"/>
                <a:gd name="T8" fmla="*/ 0 w 1538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436">
                  <a:moveTo>
                    <a:pt x="0" y="0"/>
                  </a:moveTo>
                  <a:lnTo>
                    <a:pt x="1373" y="0"/>
                  </a:lnTo>
                  <a:lnTo>
                    <a:pt x="1538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9" name="Freeform 319"/>
            <p:cNvSpPr>
              <a:spLocks/>
            </p:cNvSpPr>
            <p:nvPr/>
          </p:nvSpPr>
          <p:spPr bwMode="auto">
            <a:xfrm>
              <a:off x="2551113" y="1127125"/>
              <a:ext cx="15875" cy="785812"/>
            </a:xfrm>
            <a:custGeom>
              <a:avLst/>
              <a:gdLst>
                <a:gd name="T0" fmla="*/ 0 w 52"/>
                <a:gd name="T1" fmla="*/ 0 h 2552"/>
                <a:gd name="T2" fmla="*/ 52 w 52"/>
                <a:gd name="T3" fmla="*/ 0 h 2552"/>
                <a:gd name="T4" fmla="*/ 52 w 52"/>
                <a:gd name="T5" fmla="*/ 2552 h 2552"/>
                <a:gd name="T6" fmla="*/ 26 w 52"/>
                <a:gd name="T7" fmla="*/ 2552 h 2552"/>
                <a:gd name="T8" fmla="*/ 0 w 52"/>
                <a:gd name="T9" fmla="*/ 2552 h 2552"/>
                <a:gd name="T10" fmla="*/ 0 w 52"/>
                <a:gd name="T11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552">
                  <a:moveTo>
                    <a:pt x="0" y="0"/>
                  </a:moveTo>
                  <a:lnTo>
                    <a:pt x="52" y="0"/>
                  </a:lnTo>
                  <a:lnTo>
                    <a:pt x="52" y="2552"/>
                  </a:lnTo>
                  <a:cubicBezTo>
                    <a:pt x="44" y="2552"/>
                    <a:pt x="35" y="2552"/>
                    <a:pt x="26" y="2552"/>
                  </a:cubicBez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0" name="Rectangle 320"/>
            <p:cNvSpPr>
              <a:spLocks noChangeArrowheads="1"/>
            </p:cNvSpPr>
            <p:nvPr/>
          </p:nvSpPr>
          <p:spPr bwMode="auto">
            <a:xfrm>
              <a:off x="2543175" y="1114425"/>
              <a:ext cx="31750" cy="12700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1" name="Freeform 321"/>
            <p:cNvSpPr>
              <a:spLocks/>
            </p:cNvSpPr>
            <p:nvPr/>
          </p:nvSpPr>
          <p:spPr bwMode="auto">
            <a:xfrm>
              <a:off x="2551113" y="1127125"/>
              <a:ext cx="7938" cy="785812"/>
            </a:xfrm>
            <a:custGeom>
              <a:avLst/>
              <a:gdLst>
                <a:gd name="T0" fmla="*/ 0 w 26"/>
                <a:gd name="T1" fmla="*/ 0 h 2552"/>
                <a:gd name="T2" fmla="*/ 26 w 26"/>
                <a:gd name="T3" fmla="*/ 0 h 2552"/>
                <a:gd name="T4" fmla="*/ 26 w 26"/>
                <a:gd name="T5" fmla="*/ 2552 h 2552"/>
                <a:gd name="T6" fmla="*/ 0 w 26"/>
                <a:gd name="T7" fmla="*/ 2552 h 2552"/>
                <a:gd name="T8" fmla="*/ 0 w 26"/>
                <a:gd name="T9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52">
                  <a:moveTo>
                    <a:pt x="0" y="0"/>
                  </a:moveTo>
                  <a:lnTo>
                    <a:pt x="26" y="0"/>
                  </a:lnTo>
                  <a:lnTo>
                    <a:pt x="26" y="2552"/>
                  </a:ln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2" name="Rectangle 322"/>
            <p:cNvSpPr>
              <a:spLocks noChangeArrowheads="1"/>
            </p:cNvSpPr>
            <p:nvPr/>
          </p:nvSpPr>
          <p:spPr bwMode="auto">
            <a:xfrm>
              <a:off x="2543175" y="1114425"/>
              <a:ext cx="15875" cy="12700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3" name="Rectangle 323"/>
            <p:cNvSpPr>
              <a:spLocks noChangeArrowheads="1"/>
            </p:cNvSpPr>
            <p:nvPr/>
          </p:nvSpPr>
          <p:spPr bwMode="auto">
            <a:xfrm>
              <a:off x="2422525" y="1909763"/>
              <a:ext cx="273050" cy="19050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350" name="TextBox 349"/>
          <p:cNvSpPr txBox="1"/>
          <p:nvPr/>
        </p:nvSpPr>
        <p:spPr>
          <a:xfrm>
            <a:off x="5561704" y="2724836"/>
            <a:ext cx="60888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силение позиций Российской Федерации в глобальной конкуренции  путем развития человеческого потенциала как основного фактора экономическо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</a:t>
            </a:r>
          </a:p>
          <a:p>
            <a:pPr algn="just"/>
            <a:endParaRPr lang="ru-RU" sz="16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хождение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Федерации в числ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сяти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едущих стран мира по качеству обще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algn="just"/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ехнологическое первенство на мировой арене, усиление роли инноваций в социально-экономическом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и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351" name="Группа 350"/>
          <p:cNvGrpSpPr/>
          <p:nvPr/>
        </p:nvGrpSpPr>
        <p:grpSpPr>
          <a:xfrm>
            <a:off x="267542" y="2241710"/>
            <a:ext cx="5321805" cy="3695288"/>
            <a:chOff x="5819832" y="1738852"/>
            <a:chExt cx="6170954" cy="4116026"/>
          </a:xfrm>
        </p:grpSpPr>
        <p:pic>
          <p:nvPicPr>
            <p:cNvPr id="35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9832" y="1738852"/>
              <a:ext cx="6170954" cy="4116026"/>
            </a:xfrm>
            <a:prstGeom prst="rect">
              <a:avLst/>
            </a:prstGeom>
            <a:noFill/>
            <a:extLst/>
          </p:spPr>
        </p:pic>
        <p:pic>
          <p:nvPicPr>
            <p:cNvPr id="353" name="Picture 1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Прямоугольник 2"/>
          <p:cNvSpPr/>
          <p:nvPr/>
        </p:nvSpPr>
        <p:spPr>
          <a:xfrm>
            <a:off x="5282214" y="6295250"/>
            <a:ext cx="6669532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 указа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«О национальных целях развития 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едерации на период до 2030 года» от 21.07.2020</a:t>
            </a:r>
          </a:p>
        </p:txBody>
      </p:sp>
    </p:spTree>
    <p:extLst>
      <p:ext uri="{BB962C8B-B14F-4D97-AF65-F5344CB8AC3E}">
        <p14:creationId xmlns:p14="http://schemas.microsoft.com/office/powerpoint/2010/main" val="1518430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20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2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5124" y="159085"/>
            <a:ext cx="3235860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GKryukova\Desktop\e43e7a92-58ff-416c-ab8a-aa247a758277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7114" y="1584250"/>
            <a:ext cx="4741494" cy="4600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 rot="19473368">
            <a:off x="176699" y="2632460"/>
            <a:ext cx="33067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Monotype Corsiva" panose="03010101010201010101" pitchFamily="66" charset="0"/>
              </a:rPr>
              <a:t>Воспитательные задачи</a:t>
            </a:r>
            <a:endParaRPr lang="ru-RU" sz="2400" dirty="0">
              <a:latin typeface="Monotype Corsiva" panose="03010101010201010101" pitchFamily="66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 rot="19306446">
            <a:off x="66305" y="3298562"/>
            <a:ext cx="36976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Monotype Corsiva" panose="03010101010201010101" pitchFamily="66" charset="0"/>
              </a:rPr>
              <a:t>Читательская грамотность</a:t>
            </a:r>
            <a:endParaRPr lang="ru-RU" sz="2400" dirty="0">
              <a:latin typeface="Monotype Corsiva" panose="03010101010201010101" pitchFamily="66" charset="0"/>
            </a:endParaRPr>
          </a:p>
        </p:txBody>
      </p:sp>
      <p:pic>
        <p:nvPicPr>
          <p:cNvPr id="19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199" y="3048140"/>
            <a:ext cx="638692" cy="8838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5447" y="1967023"/>
            <a:ext cx="7270186" cy="4206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3360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21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2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927" y="778681"/>
            <a:ext cx="3235860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310927" y="1156310"/>
            <a:ext cx="1162201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</a:t>
            </a:r>
            <a:r>
              <a:rPr lang="ru-RU" dirty="0" smtClean="0"/>
              <a:t>помоги</a:t>
            </a:r>
            <a:r>
              <a:rPr lang="en-US" dirty="0" smtClean="0"/>
              <a:t> </a:t>
            </a:r>
            <a:r>
              <a:rPr lang="ru-RU" dirty="0" smtClean="0"/>
              <a:t>другому</a:t>
            </a:r>
            <a:r>
              <a:rPr lang="ru-RU" dirty="0"/>
              <a:t>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из них — </a:t>
            </a:r>
            <a:r>
              <a:rPr lang="ru-RU" dirty="0" smtClean="0"/>
              <a:t>молодёжь </a:t>
            </a:r>
            <a:r>
              <a:rPr lang="en-US" dirty="0" smtClean="0"/>
              <a:t>                   </a:t>
            </a:r>
            <a:r>
              <a:rPr lang="ru-RU" dirty="0" smtClean="0"/>
              <a:t>в </a:t>
            </a:r>
            <a:r>
              <a:rPr lang="ru-RU" dirty="0"/>
              <a:t>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</a:t>
            </a:r>
            <a:r>
              <a:rPr lang="en-US" dirty="0" smtClean="0"/>
              <a:t>                </a:t>
            </a:r>
            <a:r>
              <a:rPr lang="ru-RU" dirty="0" smtClean="0"/>
              <a:t>с </a:t>
            </a:r>
            <a:r>
              <a:rPr lang="ru-RU" dirty="0"/>
              <a:t>друго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25302" y="3437325"/>
            <a:ext cx="561220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</a:t>
            </a:r>
            <a:r>
              <a:rPr lang="ru-RU" b="1" dirty="0" smtClean="0">
                <a:solidFill>
                  <a:srgbClr val="002060"/>
                </a:solidFill>
              </a:rPr>
              <a:t>2</a:t>
            </a:r>
            <a:endParaRPr lang="ru-RU" b="1" dirty="0">
              <a:solidFill>
                <a:srgbClr val="002060"/>
              </a:solidFill>
            </a:endParaRPr>
          </a:p>
          <a:p>
            <a:pPr algn="just"/>
            <a:r>
              <a:rPr lang="ru-RU" dirty="0"/>
              <a:t>На какое время по Москве необходимо назначить начало </a:t>
            </a:r>
            <a:r>
              <a:rPr lang="ru-RU" dirty="0" err="1" smtClean="0"/>
              <a:t>вебинара</a:t>
            </a:r>
            <a:r>
              <a:rPr lang="ru-RU" dirty="0"/>
              <a:t>, чтобы в нём приняли участие руководители </a:t>
            </a:r>
            <a:r>
              <a:rPr lang="ru-RU" dirty="0" smtClean="0"/>
              <a:t>волонтёрского</a:t>
            </a:r>
            <a:r>
              <a:rPr lang="ru-RU" dirty="0"/>
              <a:t> движения из городов всех часовых поясов России, если </a:t>
            </a:r>
            <a:r>
              <a:rPr lang="ru-RU" dirty="0" err="1"/>
              <a:t>вебинар</a:t>
            </a:r>
            <a:r>
              <a:rPr lang="ru-RU" dirty="0"/>
              <a:t> </a:t>
            </a:r>
            <a:r>
              <a:rPr lang="ru-RU" dirty="0" smtClean="0"/>
              <a:t>не может </a:t>
            </a:r>
            <a:r>
              <a:rPr lang="ru-RU" dirty="0"/>
              <a:t>начинаться ранее 9:00 и позже 19:00 по местному времени?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506" y="2910635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17377" y="5844020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твет. </a:t>
            </a:r>
            <a:r>
              <a:rPr lang="ru-RU" b="1" dirty="0" smtClean="0"/>
              <a:t>в 10.00 по Москве.</a:t>
            </a:r>
            <a:endParaRPr lang="ru-RU" dirty="0"/>
          </a:p>
        </p:txBody>
      </p:sp>
      <p:sp>
        <p:nvSpPr>
          <p:cNvPr id="14" name="Овал 13"/>
          <p:cNvSpPr/>
          <p:nvPr/>
        </p:nvSpPr>
        <p:spPr>
          <a:xfrm rot="20184933">
            <a:off x="6287849" y="3344175"/>
            <a:ext cx="621909" cy="8827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 rot="13584132">
            <a:off x="11108652" y="3215920"/>
            <a:ext cx="621909" cy="88276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2" name="Прямая соединительная линия 31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27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rgbClr val="002060"/>
                </a:solidFill>
              </a:rPr>
              <a:pPr/>
              <a:t>22</a:t>
            </a:fld>
            <a:endParaRPr lang="ru-RU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413591" y="149972"/>
            <a:ext cx="803065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8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писки на манжетах</a:t>
            </a:r>
            <a:endParaRPr lang="ru-RU" sz="28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055" y="780888"/>
            <a:ext cx="3306726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06055" y="1156310"/>
            <a:ext cx="1132688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История волонтёрского движения в нашей стране ведёт свой </a:t>
            </a:r>
            <a:r>
              <a:rPr lang="ru-RU" sz="1600" dirty="0" smtClean="0"/>
              <a:t>отсчёт с </a:t>
            </a:r>
            <a:r>
              <a:rPr lang="ru-RU" sz="1600" dirty="0"/>
              <a:t>1995 года, когда состоялся первый Российский форум добровольцев</a:t>
            </a:r>
            <a:r>
              <a:rPr lang="ru-RU" sz="1600" dirty="0" smtClean="0"/>
              <a:t>. </a:t>
            </a:r>
            <a:r>
              <a:rPr lang="ru-RU" sz="1600" dirty="0" err="1" smtClean="0"/>
              <a:t>Волонтёрство</a:t>
            </a:r>
            <a:r>
              <a:rPr lang="ru-RU" sz="1600" dirty="0" smtClean="0"/>
              <a:t> </a:t>
            </a:r>
            <a:r>
              <a:rPr lang="ru-RU" sz="1600" dirty="0"/>
              <a:t>— это оказание добровольной и бескорыстной </a:t>
            </a:r>
            <a:r>
              <a:rPr lang="ru-RU" sz="1600" dirty="0" smtClean="0"/>
              <a:t>помощи тем</a:t>
            </a:r>
            <a:r>
              <a:rPr lang="ru-RU" sz="1600" dirty="0"/>
              <a:t>, кто в ней нуждается. В основе волонтёрского движения </a:t>
            </a:r>
            <a:r>
              <a:rPr lang="ru-RU" sz="1600" dirty="0" smtClean="0"/>
              <a:t>лежит простой </a:t>
            </a:r>
            <a:r>
              <a:rPr lang="ru-RU" sz="1600" dirty="0"/>
              <a:t>принцип: хочешь почувствовать себя человеком — </a:t>
            </a:r>
            <a:r>
              <a:rPr lang="ru-RU" sz="1600" dirty="0" smtClean="0"/>
              <a:t>помоги другому</a:t>
            </a:r>
            <a:r>
              <a:rPr lang="ru-RU" sz="1600" dirty="0"/>
              <a:t>. За прошедшие годы на информационной платформе «</a:t>
            </a:r>
            <a:r>
              <a:rPr lang="ru-RU" sz="1600" dirty="0" smtClean="0"/>
              <a:t>Добровольцы </a:t>
            </a:r>
            <a:r>
              <a:rPr lang="ru-RU" sz="1600" dirty="0"/>
              <a:t>России» зарегистрировано более 1,5 тыс. добровольческих </a:t>
            </a:r>
            <a:r>
              <a:rPr lang="ru-RU" sz="1600" dirty="0" smtClean="0"/>
              <a:t>организаций </a:t>
            </a:r>
            <a:r>
              <a:rPr lang="ru-RU" sz="1600" dirty="0"/>
              <a:t>и более 31,4 тыс. волонтёров. Большая часть из них — </a:t>
            </a:r>
            <a:r>
              <a:rPr lang="ru-RU" sz="1600" dirty="0" smtClean="0"/>
              <a:t>молодёжь </a:t>
            </a:r>
            <a:r>
              <a:rPr lang="ru-RU" sz="1600" dirty="0"/>
              <a:t>в возрасте младше 17 лет (23%) и от 18 до 24 лет (58%). </a:t>
            </a:r>
            <a:r>
              <a:rPr lang="ru-RU" sz="1600" dirty="0" smtClean="0"/>
              <a:t>Волонтёрские </a:t>
            </a:r>
            <a:r>
              <a:rPr lang="ru-RU" sz="1600" dirty="0"/>
              <a:t>организации активно взаимодействуют друг с друго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06055" y="2741369"/>
            <a:ext cx="666661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Вопрос </a:t>
            </a:r>
            <a:r>
              <a:rPr lang="ru-RU" sz="1600" b="1" dirty="0" smtClean="0">
                <a:solidFill>
                  <a:srgbClr val="002060"/>
                </a:solidFill>
              </a:rPr>
              <a:t>2</a:t>
            </a:r>
            <a:endParaRPr lang="ru-RU" sz="1600" b="1" dirty="0">
              <a:solidFill>
                <a:srgbClr val="002060"/>
              </a:solidFill>
            </a:endParaRPr>
          </a:p>
          <a:p>
            <a:pPr algn="just"/>
            <a:r>
              <a:rPr lang="ru-RU" sz="1600" dirty="0"/>
              <a:t>На какое время по Москве необходимо назначить начало </a:t>
            </a:r>
            <a:r>
              <a:rPr lang="ru-RU" sz="1600" dirty="0" err="1" smtClean="0"/>
              <a:t>вебинара</a:t>
            </a:r>
            <a:r>
              <a:rPr lang="ru-RU" sz="1600" dirty="0"/>
              <a:t>, чтобы в нём приняли участие руководители </a:t>
            </a:r>
            <a:r>
              <a:rPr lang="ru-RU" sz="1600" dirty="0" smtClean="0"/>
              <a:t>волонтёрского</a:t>
            </a:r>
            <a:r>
              <a:rPr lang="ru-RU" sz="1600" dirty="0"/>
              <a:t> движения </a:t>
            </a:r>
            <a:r>
              <a:rPr lang="en-US" sz="1600" dirty="0" smtClean="0"/>
              <a:t>                </a:t>
            </a:r>
            <a:r>
              <a:rPr lang="ru-RU" sz="1600" dirty="0" smtClean="0"/>
              <a:t>из </a:t>
            </a:r>
            <a:r>
              <a:rPr lang="ru-RU" sz="1600" dirty="0"/>
              <a:t>городов всех часовых поясов России, если </a:t>
            </a:r>
            <a:r>
              <a:rPr lang="ru-RU" sz="1600" dirty="0" err="1"/>
              <a:t>вебинар</a:t>
            </a:r>
            <a:r>
              <a:rPr lang="ru-RU" sz="1600" dirty="0"/>
              <a:t> </a:t>
            </a:r>
            <a:r>
              <a:rPr lang="ru-RU" sz="1600" dirty="0" smtClean="0"/>
              <a:t>не может </a:t>
            </a:r>
            <a:r>
              <a:rPr lang="ru-RU" sz="1600" dirty="0"/>
              <a:t>начинаться ранее 9:00 и позже 19:00 </a:t>
            </a:r>
            <a:r>
              <a:rPr lang="ru-RU" sz="1600" dirty="0" smtClean="0"/>
              <a:t>по </a:t>
            </a:r>
            <a:r>
              <a:rPr lang="ru-RU" sz="1600" dirty="0"/>
              <a:t>местному времени?</a:t>
            </a: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350" y="4199226"/>
            <a:ext cx="3038135" cy="175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 descr="C:\Users\GKryukova\Desktop\e43e7a92-58ff-416c-ab8a-aa247a75827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9991" y="2725970"/>
            <a:ext cx="4292010" cy="4108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527312" y="3806369"/>
            <a:ext cx="20095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Monotype Corsiva" panose="03010101010201010101" pitchFamily="66" charset="0"/>
              </a:rPr>
              <a:t>планирование</a:t>
            </a:r>
            <a:endParaRPr lang="ru-RU" sz="2800" dirty="0">
              <a:latin typeface="Monotype Corsiva" panose="03010101010201010101" pitchFamily="66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676166" y="4357195"/>
            <a:ext cx="31791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latin typeface="Monotype Corsiva" panose="03010101010201010101" pitchFamily="66" charset="0"/>
              </a:rPr>
              <a:t>лидерские качества</a:t>
            </a:r>
            <a:endParaRPr lang="ru-RU" sz="2400" dirty="0">
              <a:latin typeface="Monotype Corsiva" panose="03010101010201010101" pitchFamily="66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48307" y="4933507"/>
            <a:ext cx="22328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latin typeface="Monotype Corsiva" panose="03010101010201010101" pitchFamily="66" charset="0"/>
              </a:rPr>
              <a:t>проект</a:t>
            </a:r>
            <a:endParaRPr lang="ru-RU" sz="2800" dirty="0">
              <a:latin typeface="Monotype Corsiva" panose="03010101010201010101" pitchFamily="66" charset="0"/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9720" y="4176901"/>
            <a:ext cx="616689" cy="8222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7913" y="4999153"/>
            <a:ext cx="552667" cy="7695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" name="Группа 3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53" name="Прямая соединительная линия 5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Рисунок 5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36378" y="648607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10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20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Box 57"/>
          <p:cNvSpPr txBox="1"/>
          <p:nvPr/>
        </p:nvSpPr>
        <p:spPr>
          <a:xfrm>
            <a:off x="1779828" y="21920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«ФУНКЦИОНАЛЬНАЯ ГРАМОТНОСТЬ. ТРЕНАЖЁРЫ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95718" y="1313530"/>
            <a:ext cx="5241524" cy="320645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еятельность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тветы.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80329" y="1313530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8081" y="5174759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810406" y="5409350"/>
            <a:ext cx="257179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hlinkClick r:id="rId10"/>
              </a:rPr>
              <a:t>https://</a:t>
            </a:r>
            <a:r>
              <a:rPr lang="ru-RU" sz="1400" dirty="0" smtClean="0">
                <a:hlinkClick r:id="rId10"/>
              </a:rPr>
              <a:t>prosv.ru/pages/pisa.html</a:t>
            </a:r>
            <a:endParaRPr lang="en-US" sz="1400" dirty="0" smtClean="0"/>
          </a:p>
        </p:txBody>
      </p:sp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45459" y="5563238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046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79828" y="218874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«ЗАДАЧНИК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813071"/>
            <a:ext cx="3792636" cy="35391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70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609" b="33552"/>
          <a:stretch/>
        </p:blipFill>
        <p:spPr bwMode="auto">
          <a:xfrm>
            <a:off x="3958905" y="3168502"/>
            <a:ext cx="7300996" cy="1679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555"/>
          <a:stretch/>
        </p:blipFill>
        <p:spPr bwMode="auto">
          <a:xfrm>
            <a:off x="4033333" y="841325"/>
            <a:ext cx="4779939" cy="2185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423"/>
          <a:stretch/>
        </p:blipFill>
        <p:spPr bwMode="auto">
          <a:xfrm>
            <a:off x="295718" y="5061099"/>
            <a:ext cx="8780550" cy="119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3272" y="841325"/>
            <a:ext cx="1640848" cy="2213563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424231" y="6361234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>
                <a:hlinkClick r:id="rId6"/>
              </a:rPr>
              <a:t>Русский язык. Сборник задач по формированию читательской грамотности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2473269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МНОГОФУНКЦИОНАЛЬНЫЕ ПОСОБИЯ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для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эффективной подготовки к олимпиадам, ОГЭ,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ЕГЭ, ВПР, международным исследованиям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9" name="TextBox 58"/>
          <p:cNvSpPr txBox="1"/>
          <p:nvPr/>
        </p:nvSpPr>
        <p:spPr>
          <a:xfrm>
            <a:off x="1779828" y="218874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«ЗАДАЧНИКИ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0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0697" y="2057845"/>
            <a:ext cx="5200334" cy="387849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зволя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учащимся существенно повысить уровень своей 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 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одержа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ластям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ля учителе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математики, русского языка, обществознания, биологии,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физики, химии и системы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дополнитель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Универсальные, могут быть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использованы с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любым учебно-методическим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комплектом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71352" y="1508787"/>
            <a:ext cx="9475996" cy="383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0" rIns="108000" bIns="108000" rtlCol="0" anchor="ctr">
            <a:noAutofit/>
          </a:bodyPr>
          <a:lstStyle/>
          <a:p>
            <a:pPr defTabSz="914377">
              <a:buClr>
                <a:srgbClr val="0070C0"/>
              </a:buClr>
              <a:defRPr/>
            </a:pPr>
            <a:endParaRPr lang="ru-RU" sz="1733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688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7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9510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География 5-11 классы: сборник задач и упражнений. Базовый и углубленный уровни.  В 2 ч. Ч 2. / И.С. Колечкин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6708" y="2156984"/>
            <a:ext cx="1476046" cy="199123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7" descr="https://catalog.prosv.ru/images/big/f08ca802-168a-11e6-9dd7-0050569c7d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5791" y="4307045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 Информатика. Сборник задач по моделированию. Базовый и углубленный уровни. 10-11 классы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6079" y="4287946"/>
            <a:ext cx="1468982" cy="1981710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617454" y="6088392"/>
            <a:ext cx="3098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ea typeface="Open Sans" pitchFamily="34" charset="0"/>
                <a:cs typeface="Open Sans" pitchFamily="34" charset="0"/>
                <a:hlinkClick r:id="rId8"/>
              </a:rPr>
              <a:t>https://prosv.ru/pages/zadachnik.html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442" name="Picture 2" descr="https://catalog.prosv.ru/images/big/ac0cf7a9-455a-11e9-ba45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0568" y="2156984"/>
            <a:ext cx="1471442" cy="204919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4" name="Picture 4" descr="https://catalog.prosv.ru/images/big/5d910e56-b724-11e8-b40a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8360" y="4284447"/>
            <a:ext cx="1483650" cy="202474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4769" y="5409511"/>
            <a:ext cx="902959" cy="902959"/>
          </a:xfrm>
          <a:prstGeom prst="rect">
            <a:avLst/>
          </a:prstGeom>
        </p:spPr>
      </p:pic>
      <p:pic>
        <p:nvPicPr>
          <p:cNvPr id="4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812" y="6091297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8" descr="Изображение Тысяча и одна задача по математике. 5 — 7 классы.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336" y="4328032"/>
            <a:ext cx="1401685" cy="195171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5984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238410" y="5910071"/>
            <a:ext cx="11354295" cy="30094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240696" y="3463382"/>
            <a:ext cx="11352009" cy="2353257"/>
            <a:chOff x="240697" y="1979846"/>
            <a:chExt cx="10790254" cy="2236806"/>
          </a:xfrm>
        </p:grpSpPr>
        <p:pic>
          <p:nvPicPr>
            <p:cNvPr id="52" name="Picture 3" descr="C:\Users\MRomanova\AppData\Local\Microsoft\Windows\Temporary Internet Files\Content.Outlook\1ALXYQT3\Cover2 (3)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131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1" name="Picture 71" descr="https://www.prosv.ru/_data/umk/706/fin_gram_sovr_mir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3341" y="1979846"/>
              <a:ext cx="171528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Рисунок 34"/>
            <p:cNvPicPr/>
            <p:nvPr/>
          </p:nvPicPr>
          <p:blipFill rotWithShape="1">
            <a:blip r:embed="rId7"/>
            <a:srcRect l="31276" t="5708" r="32097" b="9725"/>
            <a:stretch/>
          </p:blipFill>
          <p:spPr bwMode="auto">
            <a:xfrm>
              <a:off x="3870455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51" name="Picture 2" descr="C:\Users\MRomanova\AppData\Local\Microsoft\Windows\Temporary Internet Files\Content.Outlook\1ALXYQT3\Cover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97" y="1979847"/>
              <a:ext cx="172039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954" name="Picture 18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908" y="1979846"/>
              <a:ext cx="172039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666" y="1979846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1" name="Слайд think-cell" r:id="rId11" imgW="359" imgH="360" progId="TCLayout.ActiveDocument.1">
                  <p:embed/>
                </p:oleObj>
              </mc:Choice>
              <mc:Fallback>
                <p:oleObj name="Слайд think-cell" r:id="rId11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238409" y="5903237"/>
            <a:ext cx="11354295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5"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386052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1778200" y="218926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 smtClean="0">
                <a:solidFill>
                  <a:srgbClr val="2D2B8D"/>
                </a:solidFill>
                <a:latin typeface="+mj-lt"/>
                <a:ea typeface="Open Sans Condensed" pitchFamily="34" charset="0"/>
                <a:cs typeface="Open Sans Condensed" pitchFamily="34" charset="0"/>
              </a:rPr>
              <a:t>Финансовая грамотность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1895321" y="1269210"/>
            <a:ext cx="102936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ЗАДАЧИ</a:t>
            </a:r>
            <a:endParaRPr lang="ru-RU" sz="1600" spc="-2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50562" y="1959123"/>
            <a:ext cx="8980079" cy="1215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формировать базовые финансовые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няти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</a:t>
            </a:r>
            <a:r>
              <a:rPr lang="en-US" sz="1400" dirty="0"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грамотно распоряжаться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еньгами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бъяснить взаимосвязь труда и е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тоимости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знакомить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с личным финансовым бюджетом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ланом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 делать осознанный выбор для достижения личных финансовы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целей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055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6314" y="1029098"/>
            <a:ext cx="12188950" cy="829978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61114" y="1126909"/>
            <a:ext cx="9866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од рук. Г.С. Ковалевой, кандидата педагогических наук, руководителя Центра оценки качества образования Института стратегии развития образования Российской академии наук, эксперта международного класс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0697" y="2069962"/>
            <a:ext cx="5420032" cy="2724913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ценка читательской грамотности 5 – 9 классы. 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4 варианта тестов, в каждом из которых даются тексты по 4 предметным областям (математике, русскому языку, естественно-научным предметам и общественно-научным предметам) с заданиями к ним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ля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проведения </a:t>
            </a:r>
            <a:r>
              <a:rPr lang="ru-RU" sz="1400" dirty="0" err="1">
                <a:ea typeface="Open Sans" pitchFamily="34" charset="0"/>
                <a:cs typeface="Open Sans" pitchFamily="34" charset="0"/>
              </a:rPr>
              <a:t>внутришкольного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 мониторинга в 5 – 9 классах:</a:t>
            </a:r>
          </a:p>
          <a:p>
            <a:pPr marL="742950" lvl="1" indent="-285750" algn="just" defTabSz="914377">
              <a:lnSpc>
                <a:spcPct val="110000"/>
              </a:lnSpc>
              <a:spcBef>
                <a:spcPts val="6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ежегодно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742950" lvl="1" indent="-285750" algn="just" defTabSz="914377">
              <a:lnSpc>
                <a:spcPct val="110000"/>
              </a:lnSpc>
              <a:spcBef>
                <a:spcPts val="6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2 раза в год (входная и итоговая диагностика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)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742950" lvl="1" indent="-285750" algn="just" defTabSz="914377">
              <a:lnSpc>
                <a:spcPct val="110000"/>
              </a:lnSpc>
              <a:spcBef>
                <a:spcPts val="6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 четвертям с изменением предмет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ласти</a:t>
            </a:r>
            <a:endParaRPr lang="ru-RU" sz="1400" dirty="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779827" y="213337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Серия «ФГОС: Оценка образовательных достижений»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4526" y="3829025"/>
            <a:ext cx="1620000" cy="2374695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2728" y="2072899"/>
            <a:ext cx="2266748" cy="3057800"/>
          </a:xfrm>
          <a:prstGeom prst="rect">
            <a:avLst/>
          </a:prstGeom>
        </p:spPr>
      </p:pic>
      <p:pic>
        <p:nvPicPr>
          <p:cNvPr id="43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4435" y="2239889"/>
            <a:ext cx="1620000" cy="253135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4" name="Picture 15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8532" y="3704530"/>
            <a:ext cx="1768537" cy="249919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9862" y="2239890"/>
            <a:ext cx="1619559" cy="2538493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1475" y="3704530"/>
            <a:ext cx="1596983" cy="2499190"/>
          </a:xfrm>
          <a:prstGeom prst="rect">
            <a:avLst/>
          </a:prstGeom>
        </p:spPr>
      </p:pic>
      <p:pic>
        <p:nvPicPr>
          <p:cNvPr id="64514" name="Picture 2" descr="http://qrcoder.ru/code/?https%3A%2F%2Fshop.prosv.ru%2Fsearch%3Fq%3D%25D0%25BC%25D0%25B5%25D1%2582%25D0%25B0%25D0%25BF%25D1%2580%25D0%25B5%25D0%25B4%25D0%25BC%25D0%25B5%25D1%2582%25D0%25BD%25D1%258B%25D0%25B5%23%2Forderby%3D5%26q%3D%25D0%25BC%25D0%25B5%25D1%2582%25D0%25B0%25D0%25BF%25D1%2580%25D0%25B5%25D0%25B4%25D0%25BC%25D0%25B5%25D1%2582%25D0%25BD%25D1%258B%25D0%25B5%26sFilters%3D21%2156334%3B13%213000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0974" y="5084486"/>
            <a:ext cx="1241754" cy="1241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-3051" y="1037806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591716" y="6015397"/>
            <a:ext cx="309828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ea typeface="Open Sans" pitchFamily="34" charset="0"/>
                <a:cs typeface="Open Sans" pitchFamily="34" charset="0"/>
                <a:hlinkClick r:id="rId10"/>
              </a:rPr>
              <a:t>https://prosv.ru/pages/zadachnik.html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625" y="6018302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861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8"/>
            <a:ext cx="4164623" cy="5512403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Электронный Банк заданий по функциональной грамотности</a:t>
            </a:r>
          </a:p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Удобно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xmlns="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27" t="22060" r="31655" b="20078"/>
          <a:stretch/>
        </p:blipFill>
        <p:spPr>
          <a:xfrm>
            <a:off x="4607748" y="3753836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xmlns="" id="{BA1D0698-6840-AD48-96F0-9DAEB9C081D7}"/>
              </a:ext>
            </a:extLst>
          </p:cNvPr>
          <p:cNvSpPr/>
          <p:nvPr/>
        </p:nvSpPr>
        <p:spPr>
          <a:xfrm>
            <a:off x="350740" y="1142357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Задания на формирование функциональной грамотности </a:t>
            </a:r>
            <a:r>
              <a:rPr lang="ru-RU" sz="1600" b="1" dirty="0" smtClean="0"/>
              <a:t> </a:t>
            </a:r>
            <a:br>
              <a:rPr lang="ru-RU" sz="1600" b="1" dirty="0" smtClean="0"/>
            </a:br>
            <a:r>
              <a:rPr lang="ru-RU" sz="1600" b="1" dirty="0" smtClean="0"/>
              <a:t>для</a:t>
            </a:r>
            <a:r>
              <a:rPr lang="ru-RU" sz="1600" b="1" dirty="0"/>
              <a:t> учеников 1-9 классов от авторов, занимающихся программой оценки </a:t>
            </a:r>
            <a:r>
              <a:rPr lang="en-GB" sz="1600" b="1" i="0" dirty="0">
                <a:solidFill>
                  <a:srgbClr val="2E3847"/>
                </a:solidFill>
                <a:effectLst/>
              </a:rPr>
              <a:t>PISA</a:t>
            </a:r>
            <a:r>
              <a:rPr lang="ru-RU" sz="1600" b="1" i="0" dirty="0" smtClean="0">
                <a:solidFill>
                  <a:srgbClr val="2E3847"/>
                </a:solidFill>
                <a:effectLst/>
              </a:rPr>
              <a:t>.</a:t>
            </a:r>
            <a:endParaRPr lang="ru-RU" sz="1600" b="1" i="0" dirty="0">
              <a:solidFill>
                <a:srgbClr val="2E3847"/>
              </a:solidFill>
              <a:effectLst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xmlns="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>
                <a:effectLst/>
              </a:rPr>
              <a:t>Каждое задание представлено в виде ситуации с 3 уровнями </a:t>
            </a:r>
            <a:r>
              <a:rPr lang="ru-RU" sz="1400" i="0" dirty="0" smtClean="0">
                <a:effectLst/>
              </a:rPr>
              <a:t>сложности</a:t>
            </a:r>
            <a:endParaRPr lang="x-none" sz="1400" dirty="0"/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ля </a:t>
            </a:r>
            <a:r>
              <a:rPr lang="ru-RU" sz="1400" dirty="0"/>
              <a:t>учеников </a:t>
            </a:r>
            <a:r>
              <a:rPr lang="ru-RU" sz="1400" b="1" i="0" dirty="0">
                <a:effectLst/>
              </a:rPr>
              <a:t>1-4 классов </a:t>
            </a:r>
            <a:r>
              <a:rPr lang="ru-RU" sz="1400" b="1" i="0" dirty="0" smtClean="0">
                <a:effectLst/>
              </a:rPr>
              <a:t>– </a:t>
            </a:r>
            <a:r>
              <a:rPr lang="ru-RU" sz="1400" i="0" dirty="0" smtClean="0">
                <a:effectLst/>
              </a:rPr>
              <a:t>направлены </a:t>
            </a:r>
            <a:r>
              <a:rPr lang="ru-RU" sz="1400" i="0" dirty="0">
                <a:effectLst/>
              </a:rPr>
              <a:t>на отработку </a:t>
            </a:r>
            <a:r>
              <a:rPr lang="ru-RU" sz="1400" i="0" dirty="0" err="1">
                <a:effectLst/>
              </a:rPr>
              <a:t>метапредметных</a:t>
            </a:r>
            <a:r>
              <a:rPr lang="ru-RU" sz="1400" i="0" dirty="0">
                <a:effectLst/>
              </a:rPr>
              <a:t> </a:t>
            </a:r>
            <a:r>
              <a:rPr lang="ru-RU" sz="1400" i="0" dirty="0" smtClean="0">
                <a:effectLst/>
              </a:rPr>
              <a:t>навыков</a:t>
            </a:r>
            <a:endParaRPr lang="ru-RU" sz="1400" i="0" dirty="0">
              <a:effectLst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:a16="http://schemas.microsoft.com/office/drawing/2014/main" xmlns="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xmlns="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5797" y="3718977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xmlns="" id="{BA1D0698-6840-AD48-96F0-9DAEB9C081D7}"/>
              </a:ext>
            </a:extLst>
          </p:cNvPr>
          <p:cNvSpPr/>
          <p:nvPr/>
        </p:nvSpPr>
        <p:spPr>
          <a:xfrm>
            <a:off x="350740" y="2107380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Более 500 заданий заданий, банк постоянно пополняется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хватывает все основные предметы школьной программы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lang="ru-RU" sz="1400" dirty="0"/>
              <a:t>тренажер, который имитирует задания </a:t>
            </a:r>
            <a:r>
              <a:rPr lang="en-US" sz="1400" dirty="0"/>
              <a:t>PISA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Задания:</a:t>
            </a:r>
            <a:endParaRPr lang="ru-RU" sz="1400" b="1" i="0" dirty="0">
              <a:effectLst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xmlns="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i="0" dirty="0" smtClean="0">
                <a:effectLst/>
              </a:rPr>
              <a:t>Для </a:t>
            </a:r>
            <a:r>
              <a:rPr lang="ru-RU" sz="1400" i="0" dirty="0">
                <a:effectLst/>
              </a:rPr>
              <a:t>учеников </a:t>
            </a:r>
            <a:r>
              <a:rPr lang="ru-RU" sz="1400" b="1" i="0" dirty="0">
                <a:effectLst/>
              </a:rPr>
              <a:t>5-9 классов </a:t>
            </a:r>
            <a:r>
              <a:rPr lang="ru-RU" sz="1400" i="0" dirty="0">
                <a:effectLst/>
              </a:rPr>
              <a:t>направлены на развитие: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ч</a:t>
            </a:r>
            <a:r>
              <a:rPr lang="ru-RU" sz="1400" i="0" dirty="0">
                <a:effectLst/>
              </a:rPr>
              <a:t>итатель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м</a:t>
            </a:r>
            <a:r>
              <a:rPr lang="ru-RU" sz="1400" i="0" dirty="0">
                <a:effectLst/>
              </a:rPr>
              <a:t>атематиче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е</a:t>
            </a:r>
            <a:r>
              <a:rPr lang="ru-RU" sz="1400" i="0" dirty="0">
                <a:effectLst/>
              </a:rPr>
              <a:t>стественнонаучн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i="0" dirty="0">
                <a:effectLst/>
              </a:rPr>
              <a:t>креативного мышления.</a:t>
            </a: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xmlns="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 smtClean="0">
                <a:effectLst/>
              </a:rPr>
              <a:t>Разработано </a:t>
            </a:r>
            <a:r>
              <a:rPr lang="ru-RU" sz="1400" i="0" dirty="0">
                <a:effectLst/>
              </a:rPr>
              <a:t>&gt; 10 различных типов и форматов </a:t>
            </a:r>
            <a:r>
              <a:rPr lang="ru-RU" sz="1400" i="0" dirty="0" smtClean="0">
                <a:effectLst/>
              </a:rPr>
              <a:t>заданий</a:t>
            </a:r>
            <a:endParaRPr lang="x-none" sz="14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sp>
        <p:nvSpPr>
          <p:cNvPr id="3" name="Прямоугольник 2">
            <a:hlinkClick r:id="rId10"/>
          </p:cNvPr>
          <p:cNvSpPr/>
          <p:nvPr/>
        </p:nvSpPr>
        <p:spPr>
          <a:xfrm>
            <a:off x="786728" y="5895149"/>
            <a:ext cx="3312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hlinkClick r:id="rId11"/>
              </a:rPr>
              <a:t>Узнать больше о Банке заданий</a:t>
            </a:r>
            <a:endParaRPr lang="ru-RU" dirty="0"/>
          </a:p>
        </p:txBody>
      </p:sp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6033" y="5942717"/>
            <a:ext cx="593229" cy="609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928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48" y="1150470"/>
            <a:ext cx="11510394" cy="465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773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011873" y="216232"/>
            <a:ext cx="72627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опросы на манжетах </a:t>
            </a:r>
            <a:endParaRPr lang="ru-RU" sz="2800" dirty="0"/>
          </a:p>
        </p:txBody>
      </p:sp>
      <p:pic>
        <p:nvPicPr>
          <p:cNvPr id="354" name="Picture 2" descr="C:\Users\GKryukova\Desktop\e43e7a92-58ff-416c-ab8a-aa247a75827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5" y="968531"/>
            <a:ext cx="5742390" cy="557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5" name="TextBox 354"/>
          <p:cNvSpPr txBox="1"/>
          <p:nvPr/>
        </p:nvSpPr>
        <p:spPr>
          <a:xfrm rot="19223151">
            <a:off x="-37543" y="2311806"/>
            <a:ext cx="41728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чем это педагогу? Руководителю ОО? Ученику? </a:t>
            </a:r>
          </a:p>
        </p:txBody>
      </p:sp>
      <p:pic>
        <p:nvPicPr>
          <p:cNvPr id="70658" name="Picture 2" descr="Как часто нужно обновлять уровни поддержки и сопротивлени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340" y="1456661"/>
            <a:ext cx="3984632" cy="3984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6396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177" y="1041103"/>
            <a:ext cx="10570920" cy="494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945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5699" y="6422159"/>
            <a:ext cx="417983" cy="466321"/>
          </a:xfrm>
          <a:prstGeom prst="rect">
            <a:avLst/>
          </a:prstGeom>
        </p:spPr>
      </p:pic>
      <p:sp>
        <p:nvSpPr>
          <p:cNvPr id="6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53355" y="305738"/>
            <a:ext cx="10029387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Электронный банк заданий. Удобно, доступно, эффективно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245253" y="6145788"/>
            <a:ext cx="5200334" cy="41197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2000" b="1" dirty="0" smtClean="0">
                <a:hlinkClick r:id="rId4"/>
              </a:rPr>
              <a:t>Ссылка на электронный банк заданий</a:t>
            </a:r>
            <a:endParaRPr lang="ru-RU" sz="16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634" y="796972"/>
            <a:ext cx="4457347" cy="5348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71"/>
          <a:stretch/>
        </p:blipFill>
        <p:spPr bwMode="auto">
          <a:xfrm>
            <a:off x="137987" y="1658470"/>
            <a:ext cx="6500112" cy="331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3232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865922" y="118775"/>
            <a:ext cx="9813048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Комплексное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предложение по формированию функциональной грамотности </a:t>
            </a:r>
            <a:b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</a:b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т Группы 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компаний «Просвещение»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3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pic>
        <p:nvPicPr>
          <p:cNvPr id="50" name="Picture 2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49730" y="1567183"/>
            <a:ext cx="4219650" cy="4196634"/>
          </a:xfrm>
          <a:prstGeom prst="rect">
            <a:avLst/>
          </a:prstGeom>
        </p:spPr>
      </p:pic>
      <p:pic>
        <p:nvPicPr>
          <p:cNvPr id="51" name="Picture 3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3169033" y="2869830"/>
            <a:ext cx="1545824" cy="1545824"/>
          </a:xfrm>
          <a:prstGeom prst="rect">
            <a:avLst/>
          </a:prstGeom>
        </p:spPr>
      </p:pic>
      <p:pic>
        <p:nvPicPr>
          <p:cNvPr id="52" name="Picture 4"/>
          <p:cNvPicPr>
            <a:picLocks noChangeAspect="1"/>
          </p:cNvPicPr>
          <p:nvPr/>
        </p:nvPicPr>
        <p:blipFill>
          <a:blip r:embed="rId9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238790" y="3551902"/>
            <a:ext cx="565147" cy="565147"/>
          </a:xfrm>
          <a:prstGeom prst="rect">
            <a:avLst/>
          </a:prstGeom>
        </p:spPr>
      </p:pic>
      <p:pic>
        <p:nvPicPr>
          <p:cNvPr id="54" name="Picture 5"/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735756" y="2224311"/>
            <a:ext cx="557873" cy="557873"/>
          </a:xfrm>
          <a:prstGeom prst="rect">
            <a:avLst/>
          </a:prstGeom>
        </p:spPr>
      </p:pic>
      <p:pic>
        <p:nvPicPr>
          <p:cNvPr id="56" name="Picture 6"/>
          <p:cNvPicPr>
            <a:picLocks noChangeAspect="1"/>
          </p:cNvPicPr>
          <p:nvPr/>
        </p:nvPicPr>
        <p:blipFill>
          <a:blip r:embed="rId12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813120" y="2166263"/>
            <a:ext cx="536671" cy="533385"/>
          </a:xfrm>
          <a:prstGeom prst="rect">
            <a:avLst/>
          </a:prstGeom>
        </p:spPr>
      </p:pic>
      <p:pic>
        <p:nvPicPr>
          <p:cNvPr id="58" name="Picture 7"/>
          <p:cNvPicPr>
            <a:picLocks noChangeAspect="1"/>
          </p:cNvPicPr>
          <p:nvPr/>
        </p:nvPicPr>
        <p:blipFill>
          <a:blip r:embed="rId1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4992357" y="4103294"/>
            <a:ext cx="565183" cy="461374"/>
          </a:xfrm>
          <a:prstGeom prst="rect">
            <a:avLst/>
          </a:prstGeom>
        </p:spPr>
      </p:pic>
      <p:pic>
        <p:nvPicPr>
          <p:cNvPr id="59" name="Picture 8"/>
          <p:cNvPicPr>
            <a:picLocks noChangeAspect="1"/>
          </p:cNvPicPr>
          <p:nvPr/>
        </p:nvPicPr>
        <p:blipFill>
          <a:blip r:embed="rId14">
            <a:duotone>
              <a:prstClr val="black"/>
              <a:srgbClr val="FF33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CrisscrossEtching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3448079" y="4810961"/>
            <a:ext cx="514765" cy="502159"/>
          </a:xfrm>
          <a:prstGeom prst="rect">
            <a:avLst/>
          </a:prstGeom>
        </p:spPr>
      </p:pic>
      <p:sp>
        <p:nvSpPr>
          <p:cNvPr id="60" name="TextBox 9"/>
          <p:cNvSpPr txBox="1"/>
          <p:nvPr/>
        </p:nvSpPr>
        <p:spPr>
          <a:xfrm>
            <a:off x="639944" y="1702735"/>
            <a:ext cx="1721516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Мониторинг </a:t>
            </a:r>
            <a:r>
              <a:rPr lang="en-US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ценка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1" name="TextBox 10"/>
          <p:cNvSpPr txBox="1"/>
          <p:nvPr/>
        </p:nvSpPr>
        <p:spPr>
          <a:xfrm>
            <a:off x="5729663" y="1693481"/>
            <a:ext cx="1484498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учение учителей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2" name="TextBox 12"/>
          <p:cNvSpPr txBox="1"/>
          <p:nvPr/>
        </p:nvSpPr>
        <p:spPr>
          <a:xfrm>
            <a:off x="5835040" y="4533381"/>
            <a:ext cx="1576387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Цифровые решения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sp>
        <p:nvSpPr>
          <p:cNvPr id="63" name="TextBox 13"/>
          <p:cNvSpPr txBox="1"/>
          <p:nvPr/>
        </p:nvSpPr>
        <p:spPr>
          <a:xfrm>
            <a:off x="1433859" y="5744081"/>
            <a:ext cx="2635265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бразовательно-исследовательское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орудование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64" name="TextBox 14"/>
          <p:cNvSpPr txBox="1"/>
          <p:nvPr/>
        </p:nvSpPr>
        <p:spPr>
          <a:xfrm>
            <a:off x="126205" y="3700954"/>
            <a:ext cx="1682598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Учебно-методическое обеспечение</a:t>
            </a:r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cxnSp>
        <p:nvCxnSpPr>
          <p:cNvPr id="74" name="Соединительная линия уступом 73"/>
          <p:cNvCxnSpPr/>
          <p:nvPr/>
        </p:nvCxnSpPr>
        <p:spPr>
          <a:xfrm flipV="1">
            <a:off x="2630458" y="5760314"/>
            <a:ext cx="1438666" cy="522983"/>
          </a:xfrm>
          <a:prstGeom prst="bentConnector2">
            <a:avLst/>
          </a:prstGeom>
          <a:ln w="28575"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/>
          <p:cNvCxnSpPr/>
          <p:nvPr/>
        </p:nvCxnSpPr>
        <p:spPr>
          <a:xfrm>
            <a:off x="468596" y="4152561"/>
            <a:ext cx="1566754" cy="312096"/>
          </a:xfrm>
          <a:prstGeom prst="bentConnector3">
            <a:avLst>
              <a:gd name="adj1" fmla="val 83431"/>
            </a:avLst>
          </a:prstGeom>
          <a:ln w="28575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/>
          <p:nvPr/>
        </p:nvCxnSpPr>
        <p:spPr>
          <a:xfrm>
            <a:off x="704949" y="1950101"/>
            <a:ext cx="1742981" cy="252245"/>
          </a:xfrm>
          <a:prstGeom prst="bentConnector3">
            <a:avLst>
              <a:gd name="adj1" fmla="val 83107"/>
            </a:avLst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ная линия уступом 76"/>
          <p:cNvCxnSpPr/>
          <p:nvPr/>
        </p:nvCxnSpPr>
        <p:spPr>
          <a:xfrm rot="10800000" flipV="1">
            <a:off x="5459778" y="4841166"/>
            <a:ext cx="1603763" cy="209063"/>
          </a:xfrm>
          <a:prstGeom prst="bentConnector3">
            <a:avLst>
              <a:gd name="adj1" fmla="val 66053"/>
            </a:avLst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Соединительная линия уступом 77"/>
          <p:cNvCxnSpPr/>
          <p:nvPr/>
        </p:nvCxnSpPr>
        <p:spPr>
          <a:xfrm rot="10800000" flipV="1">
            <a:off x="5379871" y="1982351"/>
            <a:ext cx="1834290" cy="219995"/>
          </a:xfrm>
          <a:prstGeom prst="bentConnector3">
            <a:avLst>
              <a:gd name="adj1" fmla="val 68875"/>
            </a:avLst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Группа 104"/>
          <p:cNvGrpSpPr/>
          <p:nvPr/>
        </p:nvGrpSpPr>
        <p:grpSpPr>
          <a:xfrm>
            <a:off x="240697" y="194745"/>
            <a:ext cx="1198424" cy="438775"/>
            <a:chOff x="254665" y="195486"/>
            <a:chExt cx="951720" cy="329081"/>
          </a:xfrm>
        </p:grpSpPr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20" name="Прямая соединительная линия 11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7437327" y="1000462"/>
            <a:ext cx="4751903" cy="5857538"/>
          </a:xfrm>
          <a:prstGeom prst="rect">
            <a:avLst/>
          </a:prstGeom>
          <a:solidFill>
            <a:srgbClr val="EFF5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27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2D2B8D"/>
                </a:solidFill>
                <a:latin typeface="Calibri" pitchFamily="34" charset="0"/>
              </a:rPr>
              <a:t>7</a:t>
            </a:r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128" name="Прямая соединительная линия 12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7688927" y="1250039"/>
            <a:ext cx="4314478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акет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рактико-ориентированных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/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урсо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вышения квалификации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по технологиям эффективного формирования естественнонаучн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/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атематической грамотности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более 80% программы — практические занятия с инновационным оборудование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т практических методических материалов к каждой программе</a:t>
            </a:r>
          </a:p>
          <a:p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с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о-методических пособий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ренажёры для отработки навыков реш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 </a:t>
            </a: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образовательный портал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и образовательна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нлайн-платформа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цифровой Банк заданий по функциональной грамотности для учащих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ниторинговые исслед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консультационный сервис</a:t>
            </a: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орудован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ля профильных классов </a:t>
            </a:r>
            <a:endParaRPr lang="ru-RU" sz="1400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203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011873" y="216232"/>
            <a:ext cx="72627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опросы на манжетах </a:t>
            </a:r>
            <a:endParaRPr lang="ru-RU" sz="2800" dirty="0"/>
          </a:p>
        </p:txBody>
      </p:sp>
      <p:pic>
        <p:nvPicPr>
          <p:cNvPr id="354" name="Picture 2" descr="C:\Users\GKryukova\Desktop\e43e7a92-58ff-416c-ab8a-aa247a75827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5" y="968531"/>
            <a:ext cx="5742390" cy="557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5" name="TextBox 354"/>
          <p:cNvSpPr txBox="1"/>
          <p:nvPr/>
        </p:nvSpPr>
        <p:spPr>
          <a:xfrm rot="19223151">
            <a:off x="-37543" y="2311806"/>
            <a:ext cx="417285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чем это педагогу? Руководителю ОО? Ученику? </a:t>
            </a:r>
          </a:p>
        </p:txBody>
      </p:sp>
      <p:pic>
        <p:nvPicPr>
          <p:cNvPr id="25" name="Picture 2" descr="Как часто нужно обновлять уровни поддержки и сопротивлени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340" y="1456661"/>
            <a:ext cx="3984632" cy="3984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7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186182" y="2852936"/>
            <a:ext cx="11819633" cy="336037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0" y="20245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3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6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1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2" y="1819702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7" name="Группа 96"/>
          <p:cNvGrpSpPr/>
          <p:nvPr/>
        </p:nvGrpSpPr>
        <p:grpSpPr>
          <a:xfrm>
            <a:off x="9501352" y="538285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2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8" y="524545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8" y="532048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9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1933468" y="4098105"/>
            <a:ext cx="4606970" cy="12693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b="1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дрес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: 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, бизнес-центр 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Новослободский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»</a:t>
            </a:r>
          </a:p>
          <a:p>
            <a:pPr marL="0" indent="0" defTabSz="914377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орячая 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линия: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lang="ru-RU" sz="1400" spc="-40" dirty="0">
              <a:solidFill>
                <a:schemeClr val="tx1">
                  <a:lumMod val="75000"/>
                  <a:lumOff val="2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2" name="Picture 2" descr="http://qrcoder.ru/code/?https%3A%2F%2Fshop.prosv.ru%2Fkatalog%23%2Forderby%3D6%26sFilters%3D21%2156334%3B13%212969%2C3000%2C67611%2C81288%3B&amp;4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218" y="3914700"/>
            <a:ext cx="1595977" cy="159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Rectangle 1"/>
          <p:cNvSpPr txBox="1">
            <a:spLocks/>
          </p:cNvSpPr>
          <p:nvPr/>
        </p:nvSpPr>
        <p:spPr>
          <a:xfrm>
            <a:off x="7220275" y="4628372"/>
            <a:ext cx="4502093" cy="1478973"/>
          </a:xfrm>
          <a:prstGeom prst="rect">
            <a:avLst/>
          </a:prstGeom>
        </p:spPr>
        <p:txBody>
          <a:bodyPr lIns="113998" tIns="56999" rIns="113998" bIns="56999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ой поддержки педагогов и образовательных организаций 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: (495) 789-30-40 (</a:t>
            </a:r>
            <a:r>
              <a:rPr lang="ru-RU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утр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42-03)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8(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0"/>
              </a:rPr>
              <a:t>EZubkova@prosv.ru</a:t>
            </a:r>
            <a:r>
              <a:rPr lang="en-US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</a:t>
            </a:r>
            <a:endParaRPr lang="ru-RU" sz="1600" spc="62" dirty="0">
              <a:ln w="11430"/>
              <a:solidFill>
                <a:srgbClr val="002060"/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0" name="Rectangle 1"/>
          <p:cNvSpPr txBox="1">
            <a:spLocks/>
          </p:cNvSpPr>
          <p:nvPr/>
        </p:nvSpPr>
        <p:spPr>
          <a:xfrm>
            <a:off x="7220274" y="2951838"/>
            <a:ext cx="4502093" cy="1478973"/>
          </a:xfrm>
          <a:prstGeom prst="rect">
            <a:avLst/>
          </a:prstGeom>
        </p:spPr>
        <p:txBody>
          <a:bodyPr lIns="113998" tIns="56999" rIns="113998" bIns="56999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contourClr>
                <a:schemeClr val="accent2">
                  <a:tint val="20000"/>
                </a:schemeClr>
              </a:contourClr>
            </a:sp3d>
          </a:bodyPr>
          <a:lstStyle/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едущий методист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 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тодической поддержки педагогов и образовательных организаций 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юкова Галина Васильевна</a:t>
            </a:r>
            <a:endParaRPr lang="ru-RU" sz="1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: (495) 789-30-40 (</a:t>
            </a:r>
            <a:r>
              <a:rPr lang="ru-RU" sz="1200" spc="-4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утр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5-19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  <a:endParaRPr lang="ru-RU" sz="1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(925) 188-91-99</a:t>
            </a:r>
            <a:endParaRPr lang="ru-RU" sz="1200" spc="-40" dirty="0">
              <a:solidFill>
                <a:schemeClr val="tx1">
                  <a:lumMod val="95000"/>
                  <a:lumOff val="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defTabSz="914377">
              <a:lnSpc>
                <a:spcPct val="120000"/>
              </a:lnSpc>
              <a:defRPr/>
            </a:pP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1"/>
              </a:rPr>
              <a:t>GKryukova@prosv.ru</a:t>
            </a:r>
            <a:r>
              <a:rPr lang="ru-RU" sz="12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ru-RU" sz="12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</a:t>
            </a:r>
            <a:endParaRPr lang="ru-RU" sz="1600" spc="62" dirty="0">
              <a:ln w="11430"/>
              <a:solidFill>
                <a:srgbClr val="002060"/>
              </a:solidFill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660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461" y="97724"/>
            <a:ext cx="10029387" cy="6178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Международные рейтинги качества систем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бразования</a:t>
            </a:r>
          </a:p>
          <a:p>
            <a:pPr lvl="0">
              <a:lnSpc>
                <a:spcPct val="85000"/>
              </a:lnSpc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пираются 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181612"/>
              </p:ext>
            </p:extLst>
          </p:nvPr>
        </p:nvGraphicFramePr>
        <p:xfrm>
          <a:off x="234572" y="1730126"/>
          <a:ext cx="11679951" cy="41343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0492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0348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4401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чтения в целях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приобретения читательского литературного опыта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я и использования информации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RLS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600" b="0" kern="1200" dirty="0" smtClean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rogress in International Reading Literacy Study</a:t>
                      </a:r>
                      <a:endParaRPr lang="ru-RU" sz="1600" b="1" kern="1200" dirty="0" smtClean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 класс, один раз в 5 лет,</a:t>
                      </a: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1, 2006, 2011, 2016, 2021, 2026… 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математики и естественно-научных предметов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всех общеобразовательных курсов (4, 8 классы)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углублённых курсов математики и физики (11 класс)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TIMSS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Trends in Mathematics and Science Study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, 8 и 11 классы, один раз в 4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995,…, 2015, 2019, 2023, 2027…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rtl="0" eaLnBrk="1" latinLnBrk="0" hangingPunct="1">
                        <a:defRPr/>
                      </a:pPr>
                      <a:r>
                        <a:rPr lang="ru-RU" sz="1600" b="1" kern="1200" dirty="0" err="1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Сформированность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функциональной грамотности, навыков разрешения проблем, глобальных компетенций, креативного мышления</a:t>
                      </a:r>
                      <a:endParaRPr lang="ru-RU" sz="1600" b="1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SA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600" b="1" kern="120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err="1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rogramme</a:t>
                      </a: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for International Student Assessment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5-летние обучающиеся, один раз в 3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0,…, 2015, 2018, 2022, </a:t>
                      </a:r>
                      <a:r>
                        <a:rPr lang="en-US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2</a:t>
                      </a: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5…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pSp>
        <p:nvGrpSpPr>
          <p:cNvPr id="65" name="Group 4"/>
          <p:cNvGrpSpPr>
            <a:grpSpLocks noChangeAspect="1"/>
          </p:cNvGrpSpPr>
          <p:nvPr/>
        </p:nvGrpSpPr>
        <p:grpSpPr bwMode="auto">
          <a:xfrm>
            <a:off x="330744" y="2093446"/>
            <a:ext cx="992511" cy="692473"/>
            <a:chOff x="3172" y="1756"/>
            <a:chExt cx="1336" cy="808"/>
          </a:xfrm>
        </p:grpSpPr>
        <p:sp>
          <p:nvSpPr>
            <p:cNvPr id="6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grpSp>
          <p:nvGrpSpPr>
            <p:cNvPr id="67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7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8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9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0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1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2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7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8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99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0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1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2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3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4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5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6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7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8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09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0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1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2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3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4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5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6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7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8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19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0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1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2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3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4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5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6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7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8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29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0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1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2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3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4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5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6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7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8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39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0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1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2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3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4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5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6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7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8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49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0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1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2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3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4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5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6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7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8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9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0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1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2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3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4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5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6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7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8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  <p:sp>
          <p:nvSpPr>
            <p:cNvPr id="68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grpSp>
        <p:nvGrpSpPr>
          <p:cNvPr id="269" name="Group 209"/>
          <p:cNvGrpSpPr>
            <a:grpSpLocks noChangeAspect="1"/>
          </p:cNvGrpSpPr>
          <p:nvPr/>
        </p:nvGrpSpPr>
        <p:grpSpPr bwMode="auto">
          <a:xfrm>
            <a:off x="321687" y="3492791"/>
            <a:ext cx="1034547" cy="658348"/>
            <a:chOff x="97" y="2164"/>
            <a:chExt cx="792" cy="504"/>
          </a:xfrm>
        </p:grpSpPr>
        <p:sp>
          <p:nvSpPr>
            <p:cNvPr id="270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8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9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2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3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9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3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7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1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3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4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7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pic>
        <p:nvPicPr>
          <p:cNvPr id="378" name="Рисунок 377" descr="004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4564" y="4838098"/>
            <a:ext cx="1220376" cy="72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316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279444"/>
            <a:ext cx="10029387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ценка по модели PISA – часть единой системы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ценки</a:t>
            </a:r>
            <a:r>
              <a:rPr lang="en-US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качества 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образования в России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286672" y="355452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</a:t>
            </a:r>
            <a:r>
              <a:rPr lang="ru-RU" sz="14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2</a:t>
            </a:r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622576233"/>
              </p:ext>
            </p:extLst>
          </p:nvPr>
        </p:nvGraphicFramePr>
        <p:xfrm>
          <a:off x="6879057" y="1956918"/>
          <a:ext cx="4596924" cy="46236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561236" y="1749189"/>
            <a:ext cx="1503093" cy="82160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ru-RU" sz="1200" dirty="0"/>
              <a:t>Ведущий компонент в 2022 г. </a:t>
            </a:r>
          </a:p>
          <a:p>
            <a:r>
              <a:rPr lang="ru-RU" sz="1200" dirty="0"/>
              <a:t>Участвуют сегодняшние семиклассни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5452709" y="2108409"/>
            <a:ext cx="2142490" cy="46238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ru-RU" sz="1200" b="1" dirty="0" smtClean="0"/>
              <a:t>Ведущий компонент в 2022 г. </a:t>
            </a:r>
          </a:p>
          <a:p>
            <a:pPr algn="r"/>
            <a:r>
              <a:rPr lang="ru-RU" sz="1200" dirty="0" smtClean="0"/>
              <a:t>Участвуют </a:t>
            </a:r>
            <a:r>
              <a:rPr lang="ru-RU" sz="1200" dirty="0"/>
              <a:t>сегодняшние семиклассники</a:t>
            </a:r>
            <a:endParaRPr lang="ru-RU" sz="1200" dirty="0" smtClean="0"/>
          </a:p>
        </p:txBody>
      </p:sp>
      <p:sp>
        <p:nvSpPr>
          <p:cNvPr id="41" name="TextBox 40"/>
          <p:cNvSpPr txBox="1"/>
          <p:nvPr/>
        </p:nvSpPr>
        <p:spPr>
          <a:xfrm>
            <a:off x="4850621" y="5053041"/>
            <a:ext cx="2178257" cy="4748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ru-RU" sz="1200" b="1" dirty="0"/>
              <a:t>Ведущий компонент в </a:t>
            </a:r>
            <a:r>
              <a:rPr lang="ru-RU" sz="1200" b="1" dirty="0" smtClean="0"/>
              <a:t>2025 </a:t>
            </a:r>
            <a:r>
              <a:rPr lang="ru-RU" sz="1200" b="1" dirty="0"/>
              <a:t>г. </a:t>
            </a:r>
          </a:p>
          <a:p>
            <a:pPr algn="r"/>
            <a:r>
              <a:rPr lang="ru-RU" sz="1200" dirty="0"/>
              <a:t>Участвуют сегодняшние </a:t>
            </a:r>
            <a:r>
              <a:rPr lang="ru-RU" sz="1200" dirty="0" smtClean="0"/>
              <a:t>пятиклассники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7595199" y="3372033"/>
            <a:ext cx="1266224" cy="6798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stCxn id="40" idx="3"/>
          </p:cNvCxnSpPr>
          <p:nvPr/>
        </p:nvCxnSpPr>
        <p:spPr>
          <a:xfrm>
            <a:off x="7595199" y="2339604"/>
            <a:ext cx="0" cy="1039227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stCxn id="40" idx="3"/>
            <a:endCxn id="40" idx="1"/>
          </p:cNvCxnSpPr>
          <p:nvPr/>
        </p:nvCxnSpPr>
        <p:spPr>
          <a:xfrm flipH="1">
            <a:off x="5452709" y="2339604"/>
            <a:ext cx="2142490" cy="0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 flipH="1" flipV="1">
            <a:off x="9073260" y="3066313"/>
            <a:ext cx="1368000" cy="6798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>
            <a:stCxn id="9" idx="1"/>
          </p:cNvCxnSpPr>
          <p:nvPr/>
        </p:nvCxnSpPr>
        <p:spPr>
          <a:xfrm flipH="1">
            <a:off x="10555912" y="2159993"/>
            <a:ext cx="0" cy="972000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>
            <a:stCxn id="9" idx="3"/>
            <a:endCxn id="9" idx="1"/>
          </p:cNvCxnSpPr>
          <p:nvPr/>
        </p:nvCxnSpPr>
        <p:spPr>
          <a:xfrm flipH="1">
            <a:off x="10561236" y="2159994"/>
            <a:ext cx="1503093" cy="0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 flipV="1">
            <a:off x="7029080" y="4423965"/>
            <a:ext cx="1692000" cy="12722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>
            <a:stCxn id="41" idx="3"/>
          </p:cNvCxnSpPr>
          <p:nvPr/>
        </p:nvCxnSpPr>
        <p:spPr>
          <a:xfrm flipV="1">
            <a:off x="7028878" y="4428537"/>
            <a:ext cx="0" cy="861926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>
            <a:stCxn id="41" idx="3"/>
            <a:endCxn id="41" idx="1"/>
          </p:cNvCxnSpPr>
          <p:nvPr/>
        </p:nvCxnSpPr>
        <p:spPr>
          <a:xfrm flipH="1">
            <a:off x="4850621" y="5290463"/>
            <a:ext cx="2178257" cy="0"/>
          </a:xfrm>
          <a:prstGeom prst="line">
            <a:avLst/>
          </a:prstGeom>
          <a:ln w="12700">
            <a:solidFill>
              <a:srgbClr val="2F55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137987" y="6204733"/>
            <a:ext cx="560457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Приказ </a:t>
            </a:r>
            <a:r>
              <a:rPr lang="ru-RU" sz="1000" dirty="0" err="1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N 219, РОСОБРНАДЗОРА приказ N 590, от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06.05.2019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6638875" y="1276862"/>
            <a:ext cx="4673908" cy="3262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5000"/>
              </a:lnSpc>
              <a:defRPr/>
            </a:pPr>
            <a:r>
              <a:rPr lang="ru-RU" sz="1600" b="1" spc="-20" dirty="0"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Структура измерительных материалов </a:t>
            </a:r>
            <a:r>
              <a:rPr lang="en-US" sz="1600" b="1" spc="-20" dirty="0"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PISA</a:t>
            </a:r>
            <a:r>
              <a:rPr lang="ru-RU" sz="1600" b="1" spc="-20" dirty="0"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240697" y="1251506"/>
            <a:ext cx="6209312" cy="3262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1600" b="1" spc="-20" dirty="0" smtClean="0"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Национальная система оценки качества образования</a:t>
            </a:r>
            <a:endParaRPr lang="ru-RU" sz="1600" b="1" spc="-20" dirty="0"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962471"/>
              </p:ext>
            </p:extLst>
          </p:nvPr>
        </p:nvGraphicFramePr>
        <p:xfrm>
          <a:off x="240697" y="2182641"/>
          <a:ext cx="4996516" cy="3200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64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92423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5854">
                <a:tc>
                  <a:txBody>
                    <a:bodyPr/>
                    <a:lstStyle/>
                    <a:p>
                      <a:r>
                        <a:rPr lang="ru-RU" sz="2000" b="1" kern="1200" dirty="0" smtClean="0">
                          <a:solidFill>
                            <a:srgbClr val="2D2B8D"/>
                          </a:solidFill>
                          <a:latin typeface="+mn-lt"/>
                          <a:ea typeface="+mn-ea"/>
                          <a:cs typeface="+mn-cs"/>
                        </a:rPr>
                        <a:t>ГИА</a:t>
                      </a:r>
                      <a:endParaRPr lang="ru-RU" sz="2000" b="1" kern="1200" dirty="0">
                        <a:solidFill>
                          <a:srgbClr val="2D2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– 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осударственная итоговая аттестац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58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2D2B8D"/>
                          </a:solidFill>
                          <a:latin typeface="+mn-lt"/>
                          <a:ea typeface="+mn-ea"/>
                          <a:cs typeface="+mn-cs"/>
                        </a:rPr>
                        <a:t>ВПР</a:t>
                      </a:r>
                      <a:endParaRPr lang="ru-RU" sz="2000" b="1" kern="1200" dirty="0">
                        <a:solidFill>
                          <a:srgbClr val="2D2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– 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Всероссийские проверочные работы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58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2D2B8D"/>
                          </a:solidFill>
                          <a:latin typeface="+mn-lt"/>
                          <a:ea typeface="+mn-ea"/>
                          <a:cs typeface="+mn-cs"/>
                        </a:rPr>
                        <a:t>НИКО</a:t>
                      </a:r>
                      <a:endParaRPr lang="ru-RU" sz="2000" b="1" kern="1200" dirty="0">
                        <a:solidFill>
                          <a:srgbClr val="2D2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– 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циональные исследования качества образова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585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2000" b="1" kern="1200" dirty="0" smtClean="0">
                          <a:solidFill>
                            <a:srgbClr val="2D2B8D"/>
                          </a:solidFill>
                          <a:latin typeface="+mn-lt"/>
                          <a:ea typeface="+mn-ea"/>
                          <a:cs typeface="+mn-cs"/>
                        </a:rPr>
                        <a:t>МИ</a:t>
                      </a:r>
                      <a:endParaRPr lang="ru-RU" sz="2000" b="1" kern="1200" dirty="0">
                        <a:solidFill>
                          <a:srgbClr val="2D2B8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– 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еждународные исследования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2908">
                <a:tc>
                  <a:txBody>
                    <a:bodyPr/>
                    <a:lstStyle/>
                    <a:p>
                      <a:r>
                        <a:rPr lang="en-US" sz="2400" b="1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ISA</a:t>
                      </a:r>
                      <a:endParaRPr lang="ru-RU" sz="24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– 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бщероссийская оценка по модели PISA*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2" name="Прямоугольник 41"/>
          <p:cNvSpPr/>
          <p:nvPr/>
        </p:nvSpPr>
        <p:spPr>
          <a:xfrm>
            <a:off x="9635590" y="4120836"/>
            <a:ext cx="1611339" cy="523220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  </a:t>
            </a:r>
            <a:endParaRPr lang="ru-RU" sz="1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  <a:endParaRPr lang="ru-RU" sz="1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9134347" y="2886769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</a:t>
            </a:r>
            <a:r>
              <a:rPr lang="ru-RU" sz="1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2</a:t>
            </a:r>
            <a:endParaRPr lang="ru-RU" sz="1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8421741" y="5298012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</p:spTree>
    <p:extLst>
      <p:ext uri="{BB962C8B-B14F-4D97-AF65-F5344CB8AC3E}">
        <p14:creationId xmlns:p14="http://schemas.microsoft.com/office/powerpoint/2010/main" val="2399430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2011873" y="216232"/>
            <a:ext cx="72627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опросы на манжетах </a:t>
            </a:r>
            <a:endParaRPr lang="ru-RU" sz="2800" dirty="0"/>
          </a:p>
        </p:txBody>
      </p:sp>
      <p:pic>
        <p:nvPicPr>
          <p:cNvPr id="354" name="Picture 2" descr="C:\Users\GKryukova\Desktop\e43e7a92-58ff-416c-ab8a-aa247a758277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-5" y="968531"/>
            <a:ext cx="5742390" cy="5571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/>
          <p:cNvSpPr txBox="1"/>
          <p:nvPr/>
        </p:nvSpPr>
        <p:spPr>
          <a:xfrm rot="19223151">
            <a:off x="1145710" y="3871341"/>
            <a:ext cx="417285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акой из видов грамотности Вы считаете основным</a:t>
            </a:r>
            <a:r>
              <a:rPr lang="ru-RU" sz="2400" b="1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? </a:t>
            </a:r>
            <a:endParaRPr lang="ru-RU" sz="2400" b="1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25" name="Picture 2" descr="Как часто нужно обновлять уровни поддержки и сопротивления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340" y="1456661"/>
            <a:ext cx="3984632" cy="3984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8312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3052" y="988779"/>
            <a:ext cx="12188948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80514" y="170065"/>
            <a:ext cx="10029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Формируем функциональную грамотность </a:t>
            </a:r>
          </a:p>
        </p:txBody>
      </p:sp>
      <p:sp>
        <p:nvSpPr>
          <p:cNvPr id="32" name="Подзаголовок 2"/>
          <p:cNvSpPr txBox="1">
            <a:spLocks/>
          </p:cNvSpPr>
          <p:nvPr/>
        </p:nvSpPr>
        <p:spPr>
          <a:xfrm>
            <a:off x="370240" y="2163362"/>
            <a:ext cx="6089316" cy="340093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здание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ых ситуаций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ение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 общении, или учебное сотрудничество, задания на работу в парах и малых группах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исковая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ктивность - задания поискового характера, учебные исследования, проекты</a:t>
            </a:r>
          </a:p>
          <a:p>
            <a:pPr marL="0" lvl="2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</a:t>
            </a:r>
            <a:r>
              <a:rPr lang="ru-RU" sz="1600" dirty="0" smtClean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ценочная 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сть школьников, задания на само- и </a:t>
            </a:r>
            <a:r>
              <a:rPr lang="ru-RU" sz="1600" dirty="0" err="1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заимооценку</a:t>
            </a:r>
            <a:r>
              <a:rPr lang="ru-RU" sz="1600" dirty="0">
                <a:solidFill>
                  <a:srgbClr val="212529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: приобретение опыта – кейсы, ролевые игры, диспуты, требующие разрешения проблем, принятия решений, позитивного поведения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51283" y="1020278"/>
            <a:ext cx="5934677" cy="728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Эффективные педагогические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практики</a:t>
            </a:r>
            <a:endParaRPr lang="en-US" sz="1600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pic>
        <p:nvPicPr>
          <p:cNvPr id="35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130" y="3936119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789733" y="2737841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0130" y="1153415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860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557083" y="1417753"/>
            <a:ext cx="15671" cy="1792794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555953" y="3868244"/>
            <a:ext cx="56" cy="314775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3131459" y="883243"/>
            <a:ext cx="8981651" cy="22245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несение </a:t>
            </a: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зменений в основную образовательную 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Целевой раздел: планируемые результаты и система оценки их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достижения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одержательный раздел: корректировка программ учебных курсов, в том числе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нтегрированных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деятельности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грамотности.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ведение внутришкольного мониторинга сформированности функциональной грамотности учащихся с 5 по </a:t>
            </a:r>
            <a:r>
              <a:rPr lang="ru-RU" sz="13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9 класс</a:t>
            </a:r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lvl="1">
              <a:defRPr/>
            </a:pPr>
            <a:endParaRPr lang="ru-RU" sz="13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248995" y="904349"/>
            <a:ext cx="2696113" cy="668013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475981" y="161008"/>
            <a:ext cx="556205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3736" y="216619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Встраиваем 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в образовательный </a:t>
            </a: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процесс</a:t>
            </a:r>
            <a:endParaRPr lang="ru-RU" sz="2000" b="1" spc="-20" dirty="0">
              <a:solidFill>
                <a:srgbClr val="2D2B8D"/>
              </a:solidFill>
              <a:latin typeface="+mj-lt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350" name="TextBox 349"/>
          <p:cNvSpPr txBox="1"/>
          <p:nvPr/>
        </p:nvSpPr>
        <p:spPr>
          <a:xfrm>
            <a:off x="964184" y="952549"/>
            <a:ext cx="207820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244876" y="900230"/>
            <a:ext cx="659997" cy="66801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376097" y="1059883"/>
            <a:ext cx="397554" cy="348706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7" name="TextBox 356"/>
          <p:cNvSpPr txBox="1"/>
          <p:nvPr/>
        </p:nvSpPr>
        <p:spPr>
          <a:xfrm>
            <a:off x="3131459" y="3210547"/>
            <a:ext cx="8981652" cy="67213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ешение контекстных задач в рамках уроков по всем предметам учебного плана</a:t>
            </a:r>
          </a:p>
        </p:txBody>
      </p:sp>
      <p:sp>
        <p:nvSpPr>
          <p:cNvPr id="358" name="TextBox 357"/>
          <p:cNvSpPr txBox="1"/>
          <p:nvPr/>
        </p:nvSpPr>
        <p:spPr>
          <a:xfrm>
            <a:off x="3131459" y="3979781"/>
            <a:ext cx="8981652" cy="19287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организации специальных учебных курсов «Учимся для жизни»</a:t>
            </a: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организации образовательных событий, направленных на совместную работу всего педагогического коллектива по формированию функциональной грамотности (межпредметные недели, учебно-исследовательские конференции, межпредметные марафоны</a:t>
            </a:r>
            <a:r>
              <a:rPr lang="en-US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 т. д.).</a:t>
            </a:r>
          </a:p>
          <a:p>
            <a:pPr algn="l"/>
            <a:endParaRPr lang="ru-RU" sz="13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3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ектно-исследовательская работа обучающихся с активным использованием метапредметных и межпредметных проектов и исследований</a:t>
            </a:r>
          </a:p>
        </p:txBody>
      </p:sp>
      <p:sp>
        <p:nvSpPr>
          <p:cNvPr id="368" name="Нашивка 367"/>
          <p:cNvSpPr/>
          <p:nvPr/>
        </p:nvSpPr>
        <p:spPr>
          <a:xfrm rot="5400000">
            <a:off x="477503" y="2319766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460561" y="3867135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2936606" y="6058439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546058" y="4854108"/>
            <a:ext cx="8965" cy="1367918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46058" y="6222025"/>
            <a:ext cx="2507947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3144558" y="6006581"/>
            <a:ext cx="8968551" cy="430887"/>
          </a:xfrm>
          <a:prstGeom prst="rect">
            <a:avLst/>
          </a:prstGeom>
          <a:solidFill>
            <a:srgbClr val="0073B8"/>
          </a:solidFill>
        </p:spPr>
        <p:txBody>
          <a:bodyPr wrap="square" lIns="180000">
            <a:spAutoFit/>
          </a:bodyPr>
          <a:lstStyle/>
          <a:p>
            <a:pPr marL="0" lvl="1"/>
            <a:r>
              <a:rPr lang="ru-RU" sz="1100" b="1" dirty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1100" b="1" dirty="0" smtClean="0">
              <a:solidFill>
                <a:schemeClr val="bg1"/>
              </a:solidFill>
              <a:ea typeface="Open Sans Extrabold" pitchFamily="34" charset="0"/>
              <a:cs typeface="Open Sans Extrabold" pitchFamily="34" charset="0"/>
            </a:endParaRPr>
          </a:p>
          <a:p>
            <a:pPr marL="0" lvl="1"/>
            <a:r>
              <a:rPr lang="ru-RU" sz="1100" b="1" dirty="0" smtClean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1100" b="1" dirty="0">
                <a:solidFill>
                  <a:schemeClr val="bg1"/>
                </a:solidFill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38577" y="3210547"/>
            <a:ext cx="2700089" cy="672132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36085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36517" y="4186095"/>
            <a:ext cx="2700089" cy="672132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76293"/>
              <a:chOff x="388363" y="4325421"/>
              <a:chExt cx="2645670" cy="576293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76293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</p:grp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002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521407" y="3442627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9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786" y="171967"/>
            <a:ext cx="100293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</a:rPr>
              <a:t>Подготовка к международному исследованию PISA в 2022 году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5" name="TextBox 34"/>
          <p:cNvSpPr txBox="1"/>
          <p:nvPr/>
        </p:nvSpPr>
        <p:spPr>
          <a:xfrm>
            <a:off x="1029281" y="3442627"/>
            <a:ext cx="2291228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ru-RU" sz="10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ентябрь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октябрь)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57501" y="3442626"/>
            <a:ext cx="2866503" cy="509965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40284" y="4374358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ноябрь – декабрь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57501" y="4374358"/>
            <a:ext cx="2866503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АЯ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11396" y="5297214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</a:t>
            </a: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V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ЫЕ ЧЕТВЕРТИ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январь – май)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54731" y="5306090"/>
            <a:ext cx="2869273" cy="5099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КРЕАТИВНОЕ МЫШЛЕНИЕ</a:t>
            </a:r>
            <a:endParaRPr lang="ru-RU" sz="1200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" y="2113917"/>
            <a:ext cx="1218894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РЕАЛИЗАЦИИ</a:t>
            </a:r>
          </a:p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д</a:t>
            </a: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ля 7–8 классов 2020–2022 г.</a:t>
            </a:r>
            <a:endParaRPr lang="ru-RU" b="1" dirty="0">
              <a:solidFill>
                <a:srgbClr val="0073B8"/>
              </a:solidFill>
              <a:latin typeface="+mj-lt"/>
              <a:ea typeface="Open Sans Extrabold" pitchFamily="34" charset="0"/>
              <a:cs typeface="Open Sans Extrabold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10254" y="2763649"/>
            <a:ext cx="54519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неурочная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ь/курсы по выбору</a:t>
            </a:r>
          </a:p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 в неделю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685926" y="3336205"/>
            <a:ext cx="434372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73B8"/>
                </a:solidFill>
                <a:latin typeface="+mj-lt"/>
              </a:rPr>
              <a:t>Включение в тематическое планирование конкретных предметов</a:t>
            </a:r>
          </a:p>
          <a:p>
            <a:endParaRPr lang="ru-RU" dirty="0" smtClean="0"/>
          </a:p>
          <a:p>
            <a:r>
              <a:rPr lang="ru-RU" dirty="0" smtClean="0"/>
              <a:t>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заданий в формате международных исследований качества образования </a:t>
            </a:r>
          </a:p>
          <a:p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(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е менее 3-х часов в четверть):</a:t>
            </a: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, разбор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в группах</a:t>
            </a:r>
            <a:r>
              <a:rPr lang="en-US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самостоятельно с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флексией</a:t>
            </a:r>
            <a:endParaRPr lang="ru-RU" sz="1600" dirty="0"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690313" y="2763675"/>
            <a:ext cx="4047004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ть учебного плана </a:t>
            </a:r>
            <a:endParaRPr lang="ru-RU" sz="1600" b="1" dirty="0">
              <a:solidFill>
                <a:srgbClr val="0073B8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521407" y="4374358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521406" y="5306089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9" name="Freeform 6"/>
          <p:cNvSpPr>
            <a:spLocks noEditPoints="1"/>
          </p:cNvSpPr>
          <p:nvPr/>
        </p:nvSpPr>
        <p:spPr bwMode="auto">
          <a:xfrm>
            <a:off x="610449" y="5390489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" y="2733739"/>
            <a:ext cx="5824004" cy="3659493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7663724" y="2704849"/>
            <a:ext cx="4399864" cy="3685614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Нашивка 70"/>
          <p:cNvSpPr/>
          <p:nvPr/>
        </p:nvSpPr>
        <p:spPr>
          <a:xfrm rot="5400000">
            <a:off x="2866997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V="1">
            <a:off x="2965740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954731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Нашивка 73"/>
          <p:cNvSpPr/>
          <p:nvPr/>
        </p:nvSpPr>
        <p:spPr>
          <a:xfrm rot="5400000">
            <a:off x="9103189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V="1">
            <a:off x="9201932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7782225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873318" y="1163842"/>
            <a:ext cx="10007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новное </a:t>
            </a: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аправление – МАТЕМАТИЧЕСКАЯ ГРАМОТНОСТЬ, новое направление – КРЕАТИВНОЕ МЫШЛЕНИ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-6851" t="1420"/>
          <a:stretch/>
        </p:blipFill>
        <p:spPr>
          <a:xfrm>
            <a:off x="-10159" y="1031239"/>
            <a:ext cx="1760722" cy="769965"/>
          </a:xfrm>
          <a:prstGeom prst="rect">
            <a:avLst/>
          </a:prstGeom>
        </p:spPr>
      </p:pic>
      <p:pic>
        <p:nvPicPr>
          <p:cNvPr id="78" name="Рисунок 77" descr="C:\Users\ABaburin\AppData\Local\Microsoft\Windows\Temporary Internet Files\Content.Word\Финансовая 2-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4" y="2728188"/>
            <a:ext cx="808859" cy="104500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9" name="Рисунок 78" descr="C:\Users\ABaburin\AppData\Local\Microsoft\Windows\Temporary Internet Files\Content.Word\Читательская 2-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752" y="2734742"/>
            <a:ext cx="809491" cy="103845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9753" y="3974107"/>
            <a:ext cx="843806" cy="107794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350" y="5268353"/>
            <a:ext cx="833209" cy="112905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396" y="3948057"/>
            <a:ext cx="824682" cy="110399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0663" y="5268353"/>
            <a:ext cx="836211" cy="111119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512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36</TotalTime>
  <Words>3899</Words>
  <Application>Microsoft Office PowerPoint</Application>
  <PresentationFormat>Произвольный</PresentationFormat>
  <Paragraphs>514</Paragraphs>
  <Slides>34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4</vt:i4>
      </vt:variant>
    </vt:vector>
  </HeadingPairs>
  <TitlesOfParts>
    <vt:vector size="36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Зубкова Екатерина Дмитриевна</cp:lastModifiedBy>
  <cp:revision>531</cp:revision>
  <dcterms:created xsi:type="dcterms:W3CDTF">2020-02-25T09:30:21Z</dcterms:created>
  <dcterms:modified xsi:type="dcterms:W3CDTF">2021-02-26T08:51:45Z</dcterms:modified>
</cp:coreProperties>
</file>